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2.xml" ContentType="application/vnd.openxmlformats-officedocument.presentationml.notesSlide+xml"/>
  <Override PartName="/ppt/tags/tag69.xml" ContentType="application/vnd.openxmlformats-officedocument.presentationml.tags+xml"/>
  <Override PartName="/ppt/notesSlides/notesSlide3.xml" ContentType="application/vnd.openxmlformats-officedocument.presentationml.notesSlide+xml"/>
  <Override PartName="/ppt/tags/tag7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9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10.xml" ContentType="application/vnd.openxmlformats-officedocument.presentationml.notesSlide+xml"/>
  <Override PartName="/ppt/tags/tag71.xml" ContentType="application/vnd.openxmlformats-officedocument.presentationml.tags+xml"/>
  <Override PartName="/ppt/notesSlides/notesSlide11.xml" ContentType="application/vnd.openxmlformats-officedocument.presentationml.notesSlide+xml"/>
  <Override PartName="/ppt/tags/tag72.xml" ContentType="application/vnd.openxmlformats-officedocument.presentationml.tags+xml"/>
  <Override PartName="/ppt/notesSlides/notesSlide12.xml" ContentType="application/vnd.openxmlformats-officedocument.presentationml.notesSlide+xml"/>
  <Override PartName="/ppt/tags/tag73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74.xml" ContentType="application/vnd.openxmlformats-officedocument.presentationml.tags+xml"/>
  <Override PartName="/ppt/notesSlides/notesSlide18.xml" ContentType="application/vnd.openxmlformats-officedocument.presentationml.notesSlide+xml"/>
  <Override PartName="/ppt/tags/tag75.xml" ContentType="application/vnd.openxmlformats-officedocument.presentationml.tags+xml"/>
  <Override PartName="/ppt/notesSlides/notesSlide19.xml" ContentType="application/vnd.openxmlformats-officedocument.presentationml.notesSl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20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2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29"/>
  </p:notesMasterIdLst>
  <p:handoutMasterIdLst>
    <p:handoutMasterId r:id="rId30"/>
  </p:handoutMasterIdLst>
  <p:sldIdLst>
    <p:sldId id="2147483554" r:id="rId5"/>
    <p:sldId id="2147483555" r:id="rId6"/>
    <p:sldId id="618" r:id="rId7"/>
    <p:sldId id="2147472987" r:id="rId8"/>
    <p:sldId id="2147483559" r:id="rId9"/>
    <p:sldId id="2147472986" r:id="rId10"/>
    <p:sldId id="2147471981" r:id="rId11"/>
    <p:sldId id="2147472993" r:id="rId12"/>
    <p:sldId id="2147473009" r:id="rId13"/>
    <p:sldId id="2147473008" r:id="rId14"/>
    <p:sldId id="2147472998" r:id="rId15"/>
    <p:sldId id="2147472990" r:id="rId16"/>
    <p:sldId id="2147472996" r:id="rId17"/>
    <p:sldId id="2147473001" r:id="rId18"/>
    <p:sldId id="2147473002" r:id="rId19"/>
    <p:sldId id="2147473003" r:id="rId20"/>
    <p:sldId id="2147473018" r:id="rId21"/>
    <p:sldId id="2147473024" r:id="rId22"/>
    <p:sldId id="2147473025" r:id="rId23"/>
    <p:sldId id="2147473021" r:id="rId24"/>
    <p:sldId id="616" r:id="rId25"/>
    <p:sldId id="273" r:id="rId26"/>
    <p:sldId id="2147483556" r:id="rId27"/>
    <p:sldId id="569" r:id="rId28"/>
  </p:sldIdLst>
  <p:sldSz cx="12192000" cy="6858000"/>
  <p:notesSz cx="6858000" cy="9144000"/>
  <p:custDataLst>
    <p:tags r:id="rId31"/>
  </p:custDataLst>
  <p:defaultTextStyle>
    <a:defPPr>
      <a:defRPr lang="de-DE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29AB73C-07A6-41BA-59A3-25545214D965}" name="McCrary, Leslie" initials="ML" userId="S::MCCRLES@hilti.com::1db14a86-1192-4c8a-9ef1-66c0128a52c8" providerId="AD"/>
  <p188:author id="{E11C1D3F-4B62-2B6B-0BB4-6CB1451F3E34}" name="Mathew, Rita" initials="RM" userId="S::kalmrit@hilti.com::c09ab652-8701-4039-bb6d-0d0a00ae93f2" providerId="AD"/>
  <p188:author id="{AA668985-A395-6450-1E7B-3CFED751D278}" name="Andrews, Rhys" initials="AR" userId="S::ANDRRHY@HILTI.com::8e70bb1e-db65-457f-8b9f-9378d59fccd2" providerId="AD"/>
  <p188:author id="{05D40DBD-BEBD-D588-85EC-F4554EED5A51}" name="Moore, Renee" initials="MR" userId="S::moorren@hilti.com::90b3ade6-5fc8-4c65-bdbc-5251f03d8b0a" providerId="AD"/>
  <p188:author id="{0F455DCF-EC1B-83A1-8559-39509FE3E76D}" name="Andrews, Laura" initials="AL" userId="S::newelau@hilti.com::cbf346dd-23e4-4fad-98d9-c0ab9acbf310" providerId="AD"/>
  <p188:author id="{F9F576F4-25FA-E9C6-BF9C-5F2F8D46AAE9}" name="Andrews, Rhys" initials="AR" userId="S::andrrhy@hilti.com::8e70bb1e-db65-457f-8b9f-9378d59fccd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524F5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DCAF9ED-07DC-4A11-8D7F-57B35C25682E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60"/>
  </p:normalViewPr>
  <p:slideViewPr>
    <p:cSldViewPr snapToGrid="0">
      <p:cViewPr varScale="1">
        <p:scale>
          <a:sx n="56" d="100"/>
          <a:sy n="56" d="100"/>
        </p:scale>
        <p:origin x="976" y="56"/>
      </p:cViewPr>
      <p:guideLst>
        <p:guide orient="horz" pos="21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551018194518866E-2"/>
          <c:y val="4.230769230769231E-2"/>
          <c:w val="0.93265306663562053"/>
          <c:h val="0.9153846153846153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>
                <a:shade val="76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5654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91D-49CC-A627-47757218C944}"/>
              </c:ext>
            </c:extLst>
          </c:dPt>
          <c:dPt>
            <c:idx val="1"/>
            <c:invertIfNegative val="0"/>
            <c:bubble3D val="0"/>
            <c:spPr>
              <a:solidFill>
                <a:srgbClr val="B9AA8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91D-49CC-A627-47757218C944}"/>
              </c:ext>
            </c:extLst>
          </c:dPt>
          <c:dPt>
            <c:idx val="2"/>
            <c:invertIfNegative val="0"/>
            <c:bubble3D val="0"/>
            <c:spPr>
              <a:solidFill>
                <a:srgbClr val="D7CEB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91D-49CC-A627-47757218C944}"/>
              </c:ext>
            </c:extLst>
          </c:dPt>
          <c:dPt>
            <c:idx val="3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91D-49CC-A627-47757218C944}"/>
              </c:ext>
            </c:extLst>
          </c:dPt>
          <c:dPt>
            <c:idx val="4"/>
            <c:invertIfNegative val="0"/>
            <c:bubble3D val="0"/>
            <c:spPr>
              <a:solidFill>
                <a:srgbClr val="D9D9D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F91D-49CC-A627-47757218C944}"/>
              </c:ext>
            </c:extLst>
          </c:dPt>
          <c:dPt>
            <c:idx val="5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3331-4FCF-8B6F-5EC46830940C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none" lIns="38100" tIns="19050" rIns="38100" bIns="19050" anchor="t" anchorCtr="0">
                    <a:noAutofit/>
                  </a:bodyPr>
                  <a:lstStyle/>
                  <a:p>
                    <a:pPr algn="l">
                      <a:defRPr sz="1600" b="1" i="0" u="none" strike="noStrike" kern="1200" baseline="0">
                        <a:solidFill>
                          <a:srgbClr val="524F5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rgbClr val="524F53"/>
                        </a:solidFill>
                      </a:rPr>
                      <a:t>CAD 90,00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t" anchorCtr="0">
                  <a:noAutofit/>
                </a:bodyPr>
                <a:lstStyle/>
                <a:p>
                  <a:pPr algn="l">
                    <a:defRPr sz="1600" b="1" i="0" u="none" strike="noStrike" kern="1200" baseline="0">
                      <a:solidFill>
                        <a:srgbClr val="524F5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711448334715949"/>
                      <c:h val="9.9425415518051258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1-F91D-49CC-A627-47757218C944}"/>
                </c:ext>
              </c:extLst>
            </c:dLbl>
            <c:dLbl>
              <c:idx val="1"/>
              <c:tx>
                <c:rich>
                  <a:bodyPr rot="0" spcFirstLastPara="1" vertOverflow="ellipsis" vert="horz" wrap="none" lIns="38100" tIns="19050" rIns="38100" bIns="19050" anchor="t" anchorCtr="0">
                    <a:noAutofit/>
                  </a:bodyPr>
                  <a:lstStyle/>
                  <a:p>
                    <a:pPr algn="l">
                      <a:defRPr sz="1600" b="1" i="0" u="none" strike="noStrike" kern="1200" baseline="0">
                        <a:solidFill>
                          <a:srgbClr val="524F5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rgbClr val="524F53"/>
                        </a:solidFill>
                      </a:rPr>
                      <a:t>CAD 59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t" anchorCtr="0">
                  <a:noAutofit/>
                </a:bodyPr>
                <a:lstStyle/>
                <a:p>
                  <a:pPr algn="l">
                    <a:defRPr sz="1600" b="1" i="0" u="none" strike="noStrike" kern="1200" baseline="0">
                      <a:solidFill>
                        <a:srgbClr val="524F5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711448334715949"/>
                      <c:h val="9.5659301293882629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3-F91D-49CC-A627-47757218C944}"/>
                </c:ext>
              </c:extLst>
            </c:dLbl>
            <c:dLbl>
              <c:idx val="2"/>
              <c:tx>
                <c:rich>
                  <a:bodyPr rot="0" spcFirstLastPara="1" vertOverflow="ellipsis" vert="horz" wrap="none" lIns="38100" tIns="19050" rIns="38100" bIns="19050" anchor="t" anchorCtr="0">
                    <a:noAutofit/>
                  </a:bodyPr>
                  <a:lstStyle/>
                  <a:p>
                    <a:pPr algn="l">
                      <a:defRPr sz="1600" b="1" i="0" u="none" strike="noStrike" kern="1200" baseline="0">
                        <a:solidFill>
                          <a:srgbClr val="524F5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rgbClr val="524F53"/>
                        </a:solidFill>
                      </a:rPr>
                      <a:t>CAD 48,50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t" anchorCtr="0">
                  <a:noAutofit/>
                </a:bodyPr>
                <a:lstStyle/>
                <a:p>
                  <a:pPr algn="l">
                    <a:defRPr sz="1600" b="1" i="0" u="none" strike="noStrike" kern="1200" baseline="0">
                      <a:solidFill>
                        <a:srgbClr val="524F5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711448334715949"/>
                      <c:h val="9.1893187069714014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5-F91D-49CC-A627-47757218C944}"/>
                </c:ext>
              </c:extLst>
            </c:dLbl>
            <c:dLbl>
              <c:idx val="3"/>
              <c:layout>
                <c:manualLayout>
                  <c:x val="-5.3359675491009388E-2"/>
                  <c:y val="7.5322284483372165E-3"/>
                </c:manualLayout>
              </c:layout>
              <c:tx>
                <c:rich>
                  <a:bodyPr rot="0" spcFirstLastPara="1" vertOverflow="ellipsis" vert="horz" wrap="none" lIns="38100" tIns="19050" rIns="38100" bIns="19050" anchor="t" anchorCtr="0">
                    <a:noAutofit/>
                  </a:bodyPr>
                  <a:lstStyle/>
                  <a:p>
                    <a:pPr algn="l">
                      <a:defRPr sz="1600" b="1" i="0" u="none" strike="noStrike" kern="1200" baseline="0">
                        <a:solidFill>
                          <a:srgbClr val="524F5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rgbClr val="524F53"/>
                        </a:solidFill>
                      </a:rPr>
                      <a:t>CAD 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t" anchorCtr="0">
                  <a:noAutofit/>
                </a:bodyPr>
                <a:lstStyle/>
                <a:p>
                  <a:pPr algn="l">
                    <a:defRPr sz="1600" b="1" i="0" u="none" strike="noStrike" kern="1200" baseline="0">
                      <a:solidFill>
                        <a:srgbClr val="524F5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711448334715949"/>
                      <c:h val="9.9425415518051258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7-F91D-49CC-A627-47757218C944}"/>
                </c:ext>
              </c:extLst>
            </c:dLbl>
            <c:dLbl>
              <c:idx val="4"/>
              <c:tx>
                <c:rich>
                  <a:bodyPr rot="0" spcFirstLastPara="1" vertOverflow="ellipsis" vert="horz" wrap="none" lIns="38100" tIns="19050" rIns="38100" bIns="19050" anchor="t" anchorCtr="0">
                    <a:noAutofit/>
                  </a:bodyPr>
                  <a:lstStyle/>
                  <a:p>
                    <a:pPr algn="l">
                      <a:defRPr sz="1600" b="1" i="0" u="none" strike="noStrike" kern="1200" baseline="0">
                        <a:solidFill>
                          <a:srgbClr val="524F5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rgbClr val="524F53"/>
                        </a:solidFill>
                      </a:rPr>
                      <a:t>CAD 120,00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t" anchorCtr="0">
                  <a:noAutofit/>
                </a:bodyPr>
                <a:lstStyle/>
                <a:p>
                  <a:pPr algn="l">
                    <a:defRPr sz="1600" b="1" i="0" u="none" strike="noStrike" kern="1200" baseline="0">
                      <a:solidFill>
                        <a:srgbClr val="524F5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711448334715949"/>
                      <c:h val="9.1893187069714014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9-F91D-49CC-A627-47757218C944}"/>
                </c:ext>
              </c:extLst>
            </c:dLbl>
            <c:dLbl>
              <c:idx val="5"/>
              <c:layout>
                <c:manualLayout>
                  <c:x val="-2.7348584334663528E-3"/>
                  <c:y val="-7.532080176123666E-3"/>
                </c:manualLayout>
              </c:layout>
              <c:tx>
                <c:rich>
                  <a:bodyPr rot="0" spcFirstLastPara="1" vertOverflow="ellipsis" vert="horz" wrap="none" lIns="38100" tIns="19050" rIns="38100" bIns="19050" anchor="t" anchorCtr="0">
                    <a:noAutofit/>
                  </a:bodyPr>
                  <a:lstStyle/>
                  <a:p>
                    <a:pPr algn="l">
                      <a:defRPr sz="16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chemeClr val="bg1"/>
                        </a:solidFill>
                      </a:rPr>
                      <a:t>CAD 258,559</a:t>
                    </a:r>
                  </a:p>
                </c:rich>
              </c:tx>
              <c:numFmt formatCode="_(&quot;$&quot;* #,##0_);_(&quot;$&quot;* \(#,##0\);_(&quot;$&quot;* &quot;-&quot;??_);_(@_)" sourceLinked="0"/>
              <c:spPr>
                <a:noFill/>
                <a:ln w="0"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t" anchorCtr="0">
                  <a:noAutofit/>
                </a:bodyPr>
                <a:lstStyle/>
                <a:p>
                  <a:pPr algn="l"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711448334715949"/>
                      <c:h val="8.8880295690379127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0-3331-4FCF-8B6F-5EC4683094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t" anchorCtr="0">
                <a:spAutoFit/>
              </a:bodyPr>
              <a:lstStyle/>
              <a:p>
                <a:pPr algn="l">
                  <a:defRPr sz="1600" b="1" i="0" u="none" strike="noStrike" kern="1200" baseline="0">
                    <a:solidFill>
                      <a:srgbClr val="524F53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TOTAL</c:v>
                </c:pt>
              </c:strCache>
            </c:strRef>
          </c:cat>
          <c:val>
            <c:numRef>
              <c:f>Sheet1!$B$2:$B$7</c:f>
              <c:numCache>
                <c:formatCode>"$"#,##0</c:formatCode>
                <c:ptCount val="6"/>
                <c:pt idx="0">
                  <c:v>90000</c:v>
                </c:pt>
                <c:pt idx="1">
                  <c:v>59</c:v>
                </c:pt>
                <c:pt idx="2">
                  <c:v>48500</c:v>
                </c:pt>
                <c:pt idx="3">
                  <c:v>0</c:v>
                </c:pt>
                <c:pt idx="4">
                  <c:v>120000</c:v>
                </c:pt>
                <c:pt idx="5">
                  <c:v>2585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91D-49CC-A627-47757218C94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 w="25400" cap="flat" cmpd="sng" algn="ctr">
              <a:noFill/>
              <a:prstDash val="solid"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TOTAL</c:v>
                </c:pt>
              </c:strCache>
            </c:strRef>
          </c:cat>
          <c:val>
            <c:numRef>
              <c:f>Sheet1!$C$2:$C$7</c:f>
              <c:numCache>
                <c:formatCode>"$"#,##0</c:formatCode>
                <c:ptCount val="6"/>
                <c:pt idx="0">
                  <c:v>168559</c:v>
                </c:pt>
                <c:pt idx="1">
                  <c:v>258500</c:v>
                </c:pt>
                <c:pt idx="2">
                  <c:v>210059</c:v>
                </c:pt>
                <c:pt idx="3">
                  <c:v>258559</c:v>
                </c:pt>
                <c:pt idx="4">
                  <c:v>138559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A0-47AF-8814-FBF6C1680E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197418744"/>
        <c:axId val="1197416944"/>
      </c:barChart>
      <c:catAx>
        <c:axId val="1197418744"/>
        <c:scaling>
          <c:orientation val="minMax"/>
        </c:scaling>
        <c:delete val="1"/>
        <c:axPos val="r"/>
        <c:numFmt formatCode="General" sourceLinked="1"/>
        <c:majorTickMark val="out"/>
        <c:minorTickMark val="none"/>
        <c:tickLblPos val="nextTo"/>
        <c:crossAx val="1197416944"/>
        <c:crosses val="autoZero"/>
        <c:auto val="1"/>
        <c:lblAlgn val="ctr"/>
        <c:lblOffset val="100"/>
        <c:noMultiLvlLbl val="0"/>
      </c:catAx>
      <c:valAx>
        <c:axId val="1197416944"/>
        <c:scaling>
          <c:orientation val="maxMin"/>
        </c:scaling>
        <c:delete val="1"/>
        <c:axPos val="b"/>
        <c:numFmt formatCode="0%" sourceLinked="1"/>
        <c:majorTickMark val="out"/>
        <c:minorTickMark val="none"/>
        <c:tickLblPos val="nextTo"/>
        <c:crossAx val="1197418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551018194518866E-2"/>
          <c:y val="4.230769230769231E-2"/>
          <c:w val="0.93265306663562053"/>
          <c:h val="0.9153846153846153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>
                <a:shade val="76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5654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91D-49CC-A627-47757218C944}"/>
              </c:ext>
            </c:extLst>
          </c:dPt>
          <c:dPt>
            <c:idx val="1"/>
            <c:invertIfNegative val="0"/>
            <c:bubble3D val="0"/>
            <c:spPr>
              <a:solidFill>
                <a:srgbClr val="B9AA8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91D-49CC-A627-47757218C944}"/>
              </c:ext>
            </c:extLst>
          </c:dPt>
          <c:dPt>
            <c:idx val="2"/>
            <c:invertIfNegative val="0"/>
            <c:bubble3D val="0"/>
            <c:spPr>
              <a:solidFill>
                <a:srgbClr val="D7CEB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91D-49CC-A627-47757218C944}"/>
              </c:ext>
            </c:extLst>
          </c:dPt>
          <c:dPt>
            <c:idx val="3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91D-49CC-A627-47757218C944}"/>
              </c:ext>
            </c:extLst>
          </c:dPt>
          <c:dPt>
            <c:idx val="4"/>
            <c:invertIfNegative val="0"/>
            <c:bubble3D val="0"/>
            <c:spPr>
              <a:solidFill>
                <a:srgbClr val="D9D9D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F91D-49CC-A627-47757218C944}"/>
              </c:ext>
            </c:extLst>
          </c:dPt>
          <c:dPt>
            <c:idx val="5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3331-4FCF-8B6F-5EC46830940C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none" lIns="38100" tIns="19050" rIns="38100" bIns="19050" anchor="t" anchorCtr="0">
                    <a:noAutofit/>
                  </a:bodyPr>
                  <a:lstStyle/>
                  <a:p>
                    <a:pPr algn="l">
                      <a:defRPr sz="1600" b="1" i="0" u="none" strike="noStrike" kern="1200" baseline="0">
                        <a:solidFill>
                          <a:srgbClr val="524F5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rgbClr val="524F53"/>
                        </a:solidFill>
                      </a:rPr>
                      <a:t>CAD 11,00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t" anchorCtr="0">
                  <a:noAutofit/>
                </a:bodyPr>
                <a:lstStyle/>
                <a:p>
                  <a:pPr algn="l">
                    <a:defRPr sz="1600" b="1" i="0" u="none" strike="noStrike" kern="1200" baseline="0">
                      <a:solidFill>
                        <a:srgbClr val="524F5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711448334715949"/>
                      <c:h val="9.9425415518051258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1-F91D-49CC-A627-47757218C944}"/>
                </c:ext>
              </c:extLst>
            </c:dLbl>
            <c:dLbl>
              <c:idx val="1"/>
              <c:tx>
                <c:rich>
                  <a:bodyPr rot="0" spcFirstLastPara="1" vertOverflow="ellipsis" vert="horz" wrap="none" lIns="38100" tIns="19050" rIns="38100" bIns="19050" anchor="t" anchorCtr="0">
                    <a:noAutofit/>
                  </a:bodyPr>
                  <a:lstStyle/>
                  <a:p>
                    <a:pPr algn="l">
                      <a:defRPr sz="1600" b="1" i="0" u="none" strike="noStrike" kern="1200" baseline="0">
                        <a:solidFill>
                          <a:srgbClr val="524F5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rgbClr val="524F53"/>
                        </a:solidFill>
                      </a:rPr>
                      <a:t>CAD 67,00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t" anchorCtr="0">
                  <a:noAutofit/>
                </a:bodyPr>
                <a:lstStyle/>
                <a:p>
                  <a:pPr algn="l">
                    <a:defRPr sz="1600" b="1" i="0" u="none" strike="noStrike" kern="1200" baseline="0">
                      <a:solidFill>
                        <a:srgbClr val="524F5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711448334715949"/>
                      <c:h val="9.1893187069714014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3-F91D-49CC-A627-47757218C944}"/>
                </c:ext>
              </c:extLst>
            </c:dLbl>
            <c:dLbl>
              <c:idx val="2"/>
              <c:tx>
                <c:rich>
                  <a:bodyPr rot="0" spcFirstLastPara="1" vertOverflow="ellipsis" vert="horz" wrap="none" lIns="38100" tIns="19050" rIns="38100" bIns="19050" anchor="t" anchorCtr="0">
                    <a:noAutofit/>
                  </a:bodyPr>
                  <a:lstStyle/>
                  <a:p>
                    <a:pPr algn="l">
                      <a:defRPr sz="1600" b="1" i="0" u="none" strike="noStrike" kern="1200" baseline="0">
                        <a:solidFill>
                          <a:srgbClr val="524F5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rgbClr val="524F53"/>
                        </a:solidFill>
                      </a:rPr>
                      <a:t>CAD 17,50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t" anchorCtr="0">
                  <a:noAutofit/>
                </a:bodyPr>
                <a:lstStyle/>
                <a:p>
                  <a:pPr algn="l">
                    <a:defRPr sz="1600" b="1" i="0" u="none" strike="noStrike" kern="1200" baseline="0">
                      <a:solidFill>
                        <a:srgbClr val="524F5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711448334715949"/>
                      <c:h val="9.1893187069714014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5-F91D-49CC-A627-47757218C944}"/>
                </c:ext>
              </c:extLst>
            </c:dLbl>
            <c:dLbl>
              <c:idx val="3"/>
              <c:layout>
                <c:manualLayout>
                  <c:x val="-5.0395249074842198E-2"/>
                  <c:y val="-3.7659659519551272E-3"/>
                </c:manualLayout>
              </c:layout>
              <c:tx>
                <c:rich>
                  <a:bodyPr rot="0" spcFirstLastPara="1" vertOverflow="ellipsis" vert="horz" wrap="none" lIns="38100" tIns="19050" rIns="38100" bIns="19050" anchor="t" anchorCtr="0">
                    <a:noAutofit/>
                  </a:bodyPr>
                  <a:lstStyle/>
                  <a:p>
                    <a:pPr algn="l">
                      <a:defRPr sz="1600" b="1" i="0" u="none" strike="noStrike" kern="1200" baseline="0">
                        <a:solidFill>
                          <a:srgbClr val="524F5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rgbClr val="524F53"/>
                        </a:solidFill>
                      </a:rPr>
                      <a:t>CAD 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t" anchorCtr="0">
                  <a:noAutofit/>
                </a:bodyPr>
                <a:lstStyle/>
                <a:p>
                  <a:pPr algn="l">
                    <a:defRPr sz="1600" b="1" i="0" u="none" strike="noStrike" kern="1200" baseline="0">
                      <a:solidFill>
                        <a:srgbClr val="524F5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711448334715949"/>
                      <c:h val="9.1893187069714014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7-F91D-49CC-A627-47757218C944}"/>
                </c:ext>
              </c:extLst>
            </c:dLbl>
            <c:dLbl>
              <c:idx val="4"/>
              <c:tx>
                <c:rich>
                  <a:bodyPr rot="0" spcFirstLastPara="1" vertOverflow="ellipsis" vert="horz" wrap="none" lIns="38100" tIns="19050" rIns="38100" bIns="19050" anchor="t" anchorCtr="0">
                    <a:noAutofit/>
                  </a:bodyPr>
                  <a:lstStyle/>
                  <a:p>
                    <a:pPr algn="l">
                      <a:defRPr sz="1600" b="1" i="0" u="none" strike="noStrike" kern="1200" baseline="0">
                        <a:solidFill>
                          <a:srgbClr val="524F5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rgbClr val="524F53"/>
                        </a:solidFill>
                      </a:rPr>
                      <a:t>CAD 10,00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t" anchorCtr="0">
                  <a:noAutofit/>
                </a:bodyPr>
                <a:lstStyle/>
                <a:p>
                  <a:pPr algn="l">
                    <a:defRPr sz="1600" b="1" i="0" u="none" strike="noStrike" kern="1200" baseline="0">
                      <a:solidFill>
                        <a:srgbClr val="524F5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711448334715949"/>
                      <c:h val="7.6828730173039608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9-F91D-49CC-A627-47757218C944}"/>
                </c:ext>
              </c:extLst>
            </c:dLbl>
            <c:dLbl>
              <c:idx val="5"/>
              <c:tx>
                <c:rich>
                  <a:bodyPr rot="0" spcFirstLastPara="1" vertOverflow="ellipsis" vert="horz" wrap="none" lIns="38100" tIns="19050" rIns="38100" bIns="19050" anchor="t" anchorCtr="0">
                    <a:noAutofit/>
                  </a:bodyPr>
                  <a:lstStyle/>
                  <a:p>
                    <a:pPr algn="l">
                      <a:defRPr sz="16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chemeClr val="bg1"/>
                        </a:solidFill>
                      </a:rPr>
                      <a:t>CAD 105,500</a:t>
                    </a:r>
                  </a:p>
                </c:rich>
              </c:tx>
              <c:numFmt formatCode="_(&quot;$&quot;* #,##0_);_(&quot;$&quot;* \(#,##0\);_(&quot;$&quot;* &quot;-&quot;??_);_(@_)" sourceLinked="0"/>
              <c:spPr>
                <a:noFill/>
                <a:ln w="0"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t" anchorCtr="0">
                  <a:noAutofit/>
                </a:bodyPr>
                <a:lstStyle/>
                <a:p>
                  <a:pPr algn="l"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87997527621685023"/>
                      <c:h val="0.10394475258705359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0-3331-4FCF-8B6F-5EC4683094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t" anchorCtr="0">
                <a:spAutoFit/>
              </a:bodyPr>
              <a:lstStyle/>
              <a:p>
                <a:pPr algn="l">
                  <a:defRPr sz="1600" b="1" i="0" u="none" strike="noStrike" kern="1200" baseline="0">
                    <a:solidFill>
                      <a:srgbClr val="524F53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TOTAL</c:v>
                </c:pt>
              </c:strCache>
            </c:strRef>
          </c:cat>
          <c:val>
            <c:numRef>
              <c:f>Sheet1!$B$2:$B$7</c:f>
              <c:numCache>
                <c:formatCode>"$"#,##0</c:formatCode>
                <c:ptCount val="6"/>
                <c:pt idx="0">
                  <c:v>11000</c:v>
                </c:pt>
                <c:pt idx="1">
                  <c:v>67000</c:v>
                </c:pt>
                <c:pt idx="2">
                  <c:v>17500</c:v>
                </c:pt>
                <c:pt idx="3">
                  <c:v>0</c:v>
                </c:pt>
                <c:pt idx="4">
                  <c:v>10000</c:v>
                </c:pt>
                <c:pt idx="5">
                  <c:v>105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91D-49CC-A627-47757218C94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 w="25400" cap="flat" cmpd="sng" algn="ctr">
              <a:noFill/>
              <a:prstDash val="solid"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TOTAL</c:v>
                </c:pt>
              </c:strCache>
            </c:strRef>
          </c:cat>
          <c:val>
            <c:numRef>
              <c:f>Sheet1!$C$2:$C$7</c:f>
              <c:numCache>
                <c:formatCode>"$"#,##0</c:formatCode>
                <c:ptCount val="6"/>
                <c:pt idx="0">
                  <c:v>94500</c:v>
                </c:pt>
                <c:pt idx="1">
                  <c:v>38500</c:v>
                </c:pt>
                <c:pt idx="2">
                  <c:v>88000</c:v>
                </c:pt>
                <c:pt idx="3">
                  <c:v>105500</c:v>
                </c:pt>
                <c:pt idx="4">
                  <c:v>9550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A0-47AF-8814-FBF6C1680E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197418744"/>
        <c:axId val="1197416944"/>
      </c:barChart>
      <c:catAx>
        <c:axId val="1197418744"/>
        <c:scaling>
          <c:orientation val="minMax"/>
        </c:scaling>
        <c:delete val="1"/>
        <c:axPos val="r"/>
        <c:numFmt formatCode="General" sourceLinked="1"/>
        <c:majorTickMark val="out"/>
        <c:minorTickMark val="none"/>
        <c:tickLblPos val="nextTo"/>
        <c:crossAx val="1197416944"/>
        <c:crosses val="autoZero"/>
        <c:auto val="1"/>
        <c:lblAlgn val="ctr"/>
        <c:lblOffset val="100"/>
        <c:noMultiLvlLbl val="0"/>
      </c:catAx>
      <c:valAx>
        <c:axId val="1197416944"/>
        <c:scaling>
          <c:orientation val="maxMin"/>
        </c:scaling>
        <c:delete val="1"/>
        <c:axPos val="b"/>
        <c:numFmt formatCode="0%" sourceLinked="1"/>
        <c:majorTickMark val="out"/>
        <c:minorTickMark val="none"/>
        <c:tickLblPos val="nextTo"/>
        <c:crossAx val="1197418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551018194518866E-2"/>
          <c:y val="4.230769230769231E-2"/>
          <c:w val="0.93265306663562053"/>
          <c:h val="0.9153846153846153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>
                <a:shade val="76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5654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39D-4063-A395-1E329EC9A046}"/>
              </c:ext>
            </c:extLst>
          </c:dPt>
          <c:dPt>
            <c:idx val="1"/>
            <c:invertIfNegative val="0"/>
            <c:bubble3D val="0"/>
            <c:spPr>
              <a:solidFill>
                <a:srgbClr val="B9AA8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739D-4063-A395-1E329EC9A046}"/>
              </c:ext>
            </c:extLst>
          </c:dPt>
          <c:dPt>
            <c:idx val="2"/>
            <c:invertIfNegative val="0"/>
            <c:bubble3D val="0"/>
            <c:spPr>
              <a:solidFill>
                <a:srgbClr val="D7CEB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39D-4063-A395-1E329EC9A046}"/>
              </c:ext>
            </c:extLst>
          </c:dPt>
          <c:dPt>
            <c:idx val="3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39D-4063-A395-1E329EC9A046}"/>
              </c:ext>
            </c:extLst>
          </c:dPt>
          <c:dPt>
            <c:idx val="4"/>
            <c:invertIfNegative val="0"/>
            <c:bubble3D val="0"/>
            <c:spPr>
              <a:solidFill>
                <a:srgbClr val="D9D9D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739D-4063-A395-1E329EC9A046}"/>
              </c:ext>
            </c:extLst>
          </c:dPt>
          <c:dPt>
            <c:idx val="5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AB12-4F4D-BD3C-4593B87DD2FC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none" lIns="38100" tIns="19050" rIns="38100" bIns="19050" anchor="t" anchorCtr="0">
                    <a:noAutofit/>
                  </a:bodyPr>
                  <a:lstStyle/>
                  <a:p>
                    <a:pPr algn="r">
                      <a:defRPr sz="1600" b="1" i="0" u="none" strike="noStrike" kern="1200" baseline="0">
                        <a:solidFill>
                          <a:srgbClr val="524F5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rgbClr val="524F53"/>
                        </a:solidFill>
                      </a:rPr>
                      <a:t>CAD 11,00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t" anchorCtr="0">
                  <a:noAutofit/>
                </a:bodyPr>
                <a:lstStyle/>
                <a:p>
                  <a:pPr algn="r">
                    <a:defRPr sz="1600" b="1" i="0" u="none" strike="noStrike" kern="1200" baseline="0">
                      <a:solidFill>
                        <a:srgbClr val="524F5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6183368869936"/>
                      <c:h val="8.1300813008130079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7-739D-4063-A395-1E329EC9A046}"/>
                </c:ext>
              </c:extLst>
            </c:dLbl>
            <c:dLbl>
              <c:idx val="1"/>
              <c:tx>
                <c:rich>
                  <a:bodyPr rot="0" spcFirstLastPara="1" vertOverflow="ellipsis" vert="horz" wrap="none" lIns="38100" tIns="19050" rIns="38100" bIns="19050" anchor="t" anchorCtr="0">
                    <a:noAutofit/>
                  </a:bodyPr>
                  <a:lstStyle/>
                  <a:p>
                    <a:pPr algn="r">
                      <a:defRPr sz="1600" b="1" i="0" u="none" strike="noStrike" kern="1200" baseline="0">
                        <a:solidFill>
                          <a:srgbClr val="524F5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rgbClr val="524F53"/>
                        </a:solidFill>
                      </a:rPr>
                      <a:t>CAD 67,00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t" anchorCtr="0">
                  <a:noAutofit/>
                </a:bodyPr>
                <a:lstStyle/>
                <a:p>
                  <a:pPr algn="r">
                    <a:defRPr sz="1600" b="1" i="0" u="none" strike="noStrike" kern="1200" baseline="0">
                      <a:solidFill>
                        <a:srgbClr val="524F5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6183368869936"/>
                      <c:h val="8.1300813008130079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6-739D-4063-A395-1E329EC9A046}"/>
                </c:ext>
              </c:extLst>
            </c:dLbl>
            <c:dLbl>
              <c:idx val="2"/>
              <c:tx>
                <c:rich>
                  <a:bodyPr rot="0" spcFirstLastPara="1" vertOverflow="ellipsis" vert="horz" wrap="none" lIns="38100" tIns="19050" rIns="38100" bIns="19050" anchor="t" anchorCtr="0">
                    <a:noAutofit/>
                  </a:bodyPr>
                  <a:lstStyle/>
                  <a:p>
                    <a:pPr algn="r">
                      <a:defRPr sz="1600" b="1" i="0" u="none" strike="noStrike" kern="1200" baseline="0">
                        <a:solidFill>
                          <a:srgbClr val="524F5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rgbClr val="524F53"/>
                        </a:solidFill>
                      </a:rPr>
                      <a:t>CAD 17,50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t" anchorCtr="0">
                  <a:noAutofit/>
                </a:bodyPr>
                <a:lstStyle/>
                <a:p>
                  <a:pPr algn="r">
                    <a:defRPr sz="1600" b="1" i="0" u="none" strike="noStrike" kern="1200" baseline="0">
                      <a:solidFill>
                        <a:srgbClr val="524F5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6183368869936"/>
                      <c:h val="8.1300813008130079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3-739D-4063-A395-1E329EC9A046}"/>
                </c:ext>
              </c:extLst>
            </c:dLbl>
            <c:dLbl>
              <c:idx val="3"/>
              <c:tx>
                <c:rich>
                  <a:bodyPr rot="0" spcFirstLastPara="1" vertOverflow="ellipsis" vert="horz" wrap="none" lIns="38100" tIns="19050" rIns="38100" bIns="19050" anchor="t" anchorCtr="0">
                    <a:noAutofit/>
                  </a:bodyPr>
                  <a:lstStyle/>
                  <a:p>
                    <a:pPr algn="r">
                      <a:defRPr sz="1600" b="1" i="0" u="none" strike="noStrike" kern="1200" baseline="0">
                        <a:solidFill>
                          <a:srgbClr val="524F5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rgbClr val="524F53"/>
                        </a:solidFill>
                      </a:rPr>
                      <a:t>CAD 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t" anchorCtr="0">
                  <a:noAutofit/>
                </a:bodyPr>
                <a:lstStyle/>
                <a:p>
                  <a:pPr algn="r">
                    <a:defRPr sz="1600" b="1" i="0" u="none" strike="noStrike" kern="1200" baseline="0">
                      <a:solidFill>
                        <a:srgbClr val="524F5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6183368869936"/>
                      <c:h val="8.1300813008130079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5-739D-4063-A395-1E329EC9A046}"/>
                </c:ext>
              </c:extLst>
            </c:dLbl>
            <c:dLbl>
              <c:idx val="4"/>
              <c:tx>
                <c:rich>
                  <a:bodyPr rot="0" spcFirstLastPara="1" vertOverflow="ellipsis" vert="horz" wrap="none" lIns="38100" tIns="19050" rIns="38100" bIns="19050" anchor="t" anchorCtr="0">
                    <a:noAutofit/>
                  </a:bodyPr>
                  <a:lstStyle/>
                  <a:p>
                    <a:pPr algn="r">
                      <a:defRPr sz="1600" b="1" i="0" u="none" strike="noStrike" kern="1200" baseline="0">
                        <a:solidFill>
                          <a:srgbClr val="524F5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rgbClr val="524F53"/>
                        </a:solidFill>
                      </a:rPr>
                      <a:t>CAD 10,00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t" anchorCtr="0">
                  <a:noAutofit/>
                </a:bodyPr>
                <a:lstStyle/>
                <a:p>
                  <a:pPr algn="r">
                    <a:defRPr sz="1600" b="1" i="0" u="none" strike="noStrike" kern="1200" baseline="0">
                      <a:solidFill>
                        <a:srgbClr val="524F5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6183368869936"/>
                      <c:h val="8.1300813008130079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4-739D-4063-A395-1E329EC9A046}"/>
                </c:ext>
              </c:extLst>
            </c:dLbl>
            <c:dLbl>
              <c:idx val="5"/>
              <c:tx>
                <c:rich>
                  <a:bodyPr rot="0" spcFirstLastPara="1" vertOverflow="ellipsis" vert="horz" wrap="none" lIns="38100" tIns="19050" rIns="38100" bIns="19050" anchor="ctr" anchorCtr="0">
                    <a:noAutofit/>
                  </a:bodyPr>
                  <a:lstStyle/>
                  <a:p>
                    <a:pPr algn="r">
                      <a:defRPr sz="16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chemeClr val="bg1"/>
                        </a:solidFill>
                      </a:rPr>
                      <a:t>CAD 105,50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0">
                  <a:noAutofit/>
                </a:bodyPr>
                <a:lstStyle/>
                <a:p>
                  <a:pPr algn="r"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6183368869936"/>
                      <c:h val="8.1300813008130079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0-AB12-4F4D-BD3C-4593B87DD2F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t" anchorCtr="0">
                <a:spAutoFit/>
              </a:bodyPr>
              <a:lstStyle/>
              <a:p>
                <a:pPr algn="r">
                  <a:defRPr sz="1600" b="1" i="0" u="none" strike="noStrike" kern="1200" baseline="0">
                    <a:solidFill>
                      <a:srgbClr val="524F53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TOTAL</c:v>
                </c:pt>
              </c:strCache>
            </c:strRef>
          </c:cat>
          <c:val>
            <c:numRef>
              <c:f>Sheet1!$B$2:$B$7</c:f>
              <c:numCache>
                <c:formatCode>"$"#,##0</c:formatCode>
                <c:ptCount val="6"/>
                <c:pt idx="0">
                  <c:v>11000</c:v>
                </c:pt>
                <c:pt idx="1">
                  <c:v>67000</c:v>
                </c:pt>
                <c:pt idx="2">
                  <c:v>17500</c:v>
                </c:pt>
                <c:pt idx="3">
                  <c:v>0</c:v>
                </c:pt>
                <c:pt idx="4">
                  <c:v>10000</c:v>
                </c:pt>
                <c:pt idx="5">
                  <c:v>105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9D-4063-A395-1E329EC9A04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TOTAL</c:v>
                </c:pt>
              </c:strCache>
            </c:strRef>
          </c:cat>
          <c:val>
            <c:numRef>
              <c:f>Sheet1!$C$2:$C$7</c:f>
              <c:numCache>
                <c:formatCode>"$"#,##0</c:formatCode>
                <c:ptCount val="6"/>
                <c:pt idx="0">
                  <c:v>94500</c:v>
                </c:pt>
                <c:pt idx="1">
                  <c:v>38500</c:v>
                </c:pt>
                <c:pt idx="2">
                  <c:v>88000</c:v>
                </c:pt>
                <c:pt idx="3">
                  <c:v>105500</c:v>
                </c:pt>
                <c:pt idx="4">
                  <c:v>95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F1-4B72-9043-7220548511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197418744"/>
        <c:axId val="1197416944"/>
      </c:barChart>
      <c:catAx>
        <c:axId val="1197418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97416944"/>
        <c:crosses val="autoZero"/>
        <c:auto val="1"/>
        <c:lblAlgn val="ctr"/>
        <c:lblOffset val="100"/>
        <c:noMultiLvlLbl val="0"/>
      </c:catAx>
      <c:valAx>
        <c:axId val="1197416944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97418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551018194518866E-2"/>
          <c:y val="4.230769230769231E-2"/>
          <c:w val="0.93265306663562053"/>
          <c:h val="0.9153846153846153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>
                <a:shade val="76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5654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91D-49CC-A627-47757218C944}"/>
              </c:ext>
            </c:extLst>
          </c:dPt>
          <c:dPt>
            <c:idx val="1"/>
            <c:invertIfNegative val="0"/>
            <c:bubble3D val="0"/>
            <c:spPr>
              <a:solidFill>
                <a:srgbClr val="B9AA8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91D-49CC-A627-47757218C944}"/>
              </c:ext>
            </c:extLst>
          </c:dPt>
          <c:dPt>
            <c:idx val="2"/>
            <c:invertIfNegative val="0"/>
            <c:bubble3D val="0"/>
            <c:spPr>
              <a:solidFill>
                <a:srgbClr val="D7CEB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91D-49CC-A627-47757218C944}"/>
              </c:ext>
            </c:extLst>
          </c:dPt>
          <c:dPt>
            <c:idx val="3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91D-49CC-A627-47757218C944}"/>
              </c:ext>
            </c:extLst>
          </c:dPt>
          <c:dPt>
            <c:idx val="4"/>
            <c:invertIfNegative val="0"/>
            <c:bubble3D val="0"/>
            <c:spPr>
              <a:solidFill>
                <a:srgbClr val="D9D9D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F91D-49CC-A627-47757218C944}"/>
              </c:ext>
            </c:extLst>
          </c:dPt>
          <c:dPt>
            <c:idx val="5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3331-4FCF-8B6F-5EC46830940C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none" lIns="38100" tIns="19050" rIns="38100" bIns="19050" anchor="t" anchorCtr="0">
                    <a:noAutofit/>
                  </a:bodyPr>
                  <a:lstStyle/>
                  <a:p>
                    <a:pPr algn="l">
                      <a:defRPr sz="1600" b="1" i="0" u="none" strike="noStrike" kern="1200" baseline="0">
                        <a:solidFill>
                          <a:srgbClr val="524F5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rgbClr val="524F53"/>
                        </a:solidFill>
                      </a:rPr>
                      <a:t>CAD 90,00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t" anchorCtr="0">
                  <a:noAutofit/>
                </a:bodyPr>
                <a:lstStyle/>
                <a:p>
                  <a:pPr algn="l">
                    <a:defRPr sz="1600" b="1" i="0" u="none" strike="noStrike" kern="1200" baseline="0">
                      <a:solidFill>
                        <a:srgbClr val="524F5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711448334715949"/>
                      <c:h val="8.8127072845545412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1-F91D-49CC-A627-47757218C944}"/>
                </c:ext>
              </c:extLst>
            </c:dLbl>
            <c:dLbl>
              <c:idx val="1"/>
              <c:tx>
                <c:rich>
                  <a:bodyPr rot="0" spcFirstLastPara="1" vertOverflow="ellipsis" vert="horz" wrap="none" lIns="38100" tIns="19050" rIns="38100" bIns="19050" anchor="t" anchorCtr="0">
                    <a:noAutofit/>
                  </a:bodyPr>
                  <a:lstStyle/>
                  <a:p>
                    <a:pPr algn="l">
                      <a:defRPr sz="1600" b="1" i="0" u="none" strike="noStrike" kern="1200" baseline="0">
                        <a:solidFill>
                          <a:srgbClr val="524F5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rgbClr val="524F53"/>
                        </a:solidFill>
                      </a:rPr>
                      <a:t>CAD 59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t" anchorCtr="0">
                  <a:noAutofit/>
                </a:bodyPr>
                <a:lstStyle/>
                <a:p>
                  <a:pPr algn="l">
                    <a:defRPr sz="1600" b="1" i="0" u="none" strike="noStrike" kern="1200" baseline="0">
                      <a:solidFill>
                        <a:srgbClr val="524F5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711448334715949"/>
                      <c:h val="8.4360958621376825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3-F91D-49CC-A627-47757218C944}"/>
                </c:ext>
              </c:extLst>
            </c:dLbl>
            <c:dLbl>
              <c:idx val="2"/>
              <c:tx>
                <c:rich>
                  <a:bodyPr rot="0" spcFirstLastPara="1" vertOverflow="ellipsis" vert="horz" wrap="none" lIns="38100" tIns="19050" rIns="38100" bIns="19050" anchor="t" anchorCtr="0">
                    <a:noAutofit/>
                  </a:bodyPr>
                  <a:lstStyle/>
                  <a:p>
                    <a:pPr algn="l">
                      <a:defRPr sz="1600" b="1" i="0" u="none" strike="noStrike" kern="1200" baseline="0">
                        <a:solidFill>
                          <a:srgbClr val="524F5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rgbClr val="524F53"/>
                        </a:solidFill>
                      </a:rPr>
                      <a:t>CAD 48,50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t" anchorCtr="0">
                  <a:noAutofit/>
                </a:bodyPr>
                <a:lstStyle/>
                <a:p>
                  <a:pPr algn="l">
                    <a:defRPr sz="1600" b="1" i="0" u="none" strike="noStrike" kern="1200" baseline="0">
                      <a:solidFill>
                        <a:srgbClr val="524F5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711448334715949"/>
                      <c:h val="8.8127072845545412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5-F91D-49CC-A627-47757218C944}"/>
                </c:ext>
              </c:extLst>
            </c:dLbl>
            <c:dLbl>
              <c:idx val="3"/>
              <c:layout>
                <c:manualLayout>
                  <c:x val="-4.7430822658675008E-2"/>
                  <c:y val="-6.9044629833635497E-17"/>
                </c:manualLayout>
              </c:layout>
              <c:tx>
                <c:rich>
                  <a:bodyPr rot="0" spcFirstLastPara="1" vertOverflow="ellipsis" vert="horz" wrap="none" lIns="38100" tIns="19050" rIns="38100" bIns="19050" anchor="t" anchorCtr="0">
                    <a:noAutofit/>
                  </a:bodyPr>
                  <a:lstStyle/>
                  <a:p>
                    <a:pPr algn="l">
                      <a:defRPr sz="1600" b="1" i="0" u="none" strike="noStrike" kern="1200" baseline="0">
                        <a:solidFill>
                          <a:srgbClr val="524F5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rgbClr val="524F53"/>
                        </a:solidFill>
                      </a:rPr>
                      <a:t>CAD 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t" anchorCtr="0">
                  <a:noAutofit/>
                </a:bodyPr>
                <a:lstStyle/>
                <a:p>
                  <a:pPr algn="l">
                    <a:defRPr sz="1600" b="1" i="0" u="none" strike="noStrike" kern="1200" baseline="0">
                      <a:solidFill>
                        <a:srgbClr val="524F5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711448334715949"/>
                      <c:h val="7.3062615948870993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7-F91D-49CC-A627-47757218C944}"/>
                </c:ext>
              </c:extLst>
            </c:dLbl>
            <c:dLbl>
              <c:idx val="4"/>
              <c:tx>
                <c:rich>
                  <a:bodyPr rot="0" spcFirstLastPara="1" vertOverflow="ellipsis" vert="horz" wrap="none" lIns="38100" tIns="19050" rIns="38100" bIns="19050" anchor="t" anchorCtr="0">
                    <a:noAutofit/>
                  </a:bodyPr>
                  <a:lstStyle/>
                  <a:p>
                    <a:pPr algn="l">
                      <a:defRPr sz="1600" b="1" i="0" u="none" strike="noStrike" kern="1200" baseline="0">
                        <a:solidFill>
                          <a:srgbClr val="524F5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rgbClr val="524F53"/>
                        </a:solidFill>
                      </a:rPr>
                      <a:t>CAD 120,00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t" anchorCtr="0">
                  <a:noAutofit/>
                </a:bodyPr>
                <a:lstStyle/>
                <a:p>
                  <a:pPr algn="l">
                    <a:defRPr sz="1600" b="1" i="0" u="none" strike="noStrike" kern="1200" baseline="0">
                      <a:solidFill>
                        <a:srgbClr val="524F5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639531816698549"/>
                      <c:h val="8.8127072845545412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9-F91D-49CC-A627-47757218C944}"/>
                </c:ext>
              </c:extLst>
            </c:dLbl>
            <c:dLbl>
              <c:idx val="5"/>
              <c:tx>
                <c:rich>
                  <a:bodyPr rot="0" spcFirstLastPara="1" vertOverflow="ellipsis" vert="horz" wrap="none" lIns="38100" tIns="19050" rIns="38100" bIns="19050" anchor="t" anchorCtr="0">
                    <a:noAutofit/>
                  </a:bodyPr>
                  <a:lstStyle/>
                  <a:p>
                    <a:pPr algn="l">
                      <a:defRPr sz="16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chemeClr val="bg1"/>
                        </a:solidFill>
                      </a:rPr>
                      <a:t>CAD 258,559</a:t>
                    </a:r>
                  </a:p>
                </c:rich>
              </c:tx>
              <c:numFmt formatCode="_(&quot;$&quot;* #,##0_);_(&quot;$&quot;* \(#,##0\);_(&quot;$&quot;* &quot;-&quot;??_);_(@_)" sourceLinked="0"/>
              <c:spPr>
                <a:noFill/>
                <a:ln w="0"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t" anchorCtr="0">
                  <a:noAutofit/>
                </a:bodyPr>
                <a:lstStyle/>
                <a:p>
                  <a:pPr algn="l"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711448334715949"/>
                      <c:h val="0.1114769810353908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0-3331-4FCF-8B6F-5EC4683094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t" anchorCtr="0">
                <a:spAutoFit/>
              </a:bodyPr>
              <a:lstStyle/>
              <a:p>
                <a:pPr algn="l">
                  <a:defRPr sz="1600" b="1" i="0" u="none" strike="noStrike" kern="1200" baseline="0">
                    <a:solidFill>
                      <a:srgbClr val="524F53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TOTAL</c:v>
                </c:pt>
              </c:strCache>
            </c:strRef>
          </c:cat>
          <c:val>
            <c:numRef>
              <c:f>Sheet1!$B$2:$B$7</c:f>
              <c:numCache>
                <c:formatCode>"$"#,##0</c:formatCode>
                <c:ptCount val="6"/>
                <c:pt idx="0">
                  <c:v>90000</c:v>
                </c:pt>
                <c:pt idx="1">
                  <c:v>59</c:v>
                </c:pt>
                <c:pt idx="2">
                  <c:v>48500</c:v>
                </c:pt>
                <c:pt idx="3">
                  <c:v>0</c:v>
                </c:pt>
                <c:pt idx="4">
                  <c:v>120000</c:v>
                </c:pt>
                <c:pt idx="5">
                  <c:v>2585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91D-49CC-A627-47757218C94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 w="25400" cap="flat" cmpd="sng" algn="ctr">
              <a:noFill/>
              <a:prstDash val="solid"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TOTAL</c:v>
                </c:pt>
              </c:strCache>
            </c:strRef>
          </c:cat>
          <c:val>
            <c:numRef>
              <c:f>Sheet1!$C$2:$C$7</c:f>
              <c:numCache>
                <c:formatCode>"$"#,##0</c:formatCode>
                <c:ptCount val="6"/>
                <c:pt idx="0">
                  <c:v>168559</c:v>
                </c:pt>
                <c:pt idx="1">
                  <c:v>258500</c:v>
                </c:pt>
                <c:pt idx="2">
                  <c:v>210059</c:v>
                </c:pt>
                <c:pt idx="3">
                  <c:v>258559</c:v>
                </c:pt>
                <c:pt idx="4">
                  <c:v>1385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A0-47AF-8814-FBF6C1680E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197418744"/>
        <c:axId val="1197416944"/>
      </c:barChart>
      <c:catAx>
        <c:axId val="1197418744"/>
        <c:scaling>
          <c:orientation val="minMax"/>
        </c:scaling>
        <c:delete val="1"/>
        <c:axPos val="r"/>
        <c:numFmt formatCode="General" sourceLinked="1"/>
        <c:majorTickMark val="out"/>
        <c:minorTickMark val="none"/>
        <c:tickLblPos val="nextTo"/>
        <c:crossAx val="1197416944"/>
        <c:crosses val="autoZero"/>
        <c:auto val="1"/>
        <c:lblAlgn val="ctr"/>
        <c:lblOffset val="100"/>
        <c:noMultiLvlLbl val="0"/>
      </c:catAx>
      <c:valAx>
        <c:axId val="1197416944"/>
        <c:scaling>
          <c:orientation val="maxMin"/>
        </c:scaling>
        <c:delete val="1"/>
        <c:axPos val="b"/>
        <c:numFmt formatCode="0%" sourceLinked="1"/>
        <c:majorTickMark val="out"/>
        <c:minorTickMark val="none"/>
        <c:tickLblPos val="nextTo"/>
        <c:crossAx val="1197418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551018194518866E-2"/>
          <c:y val="4.230769230769231E-2"/>
          <c:w val="0.93265306663562053"/>
          <c:h val="0.9153846153846153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>
                <a:shade val="76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5654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39D-4063-A395-1E329EC9A046}"/>
              </c:ext>
            </c:extLst>
          </c:dPt>
          <c:dPt>
            <c:idx val="1"/>
            <c:invertIfNegative val="0"/>
            <c:bubble3D val="0"/>
            <c:spPr>
              <a:solidFill>
                <a:srgbClr val="B9AA8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739D-4063-A395-1E329EC9A046}"/>
              </c:ext>
            </c:extLst>
          </c:dPt>
          <c:dPt>
            <c:idx val="2"/>
            <c:invertIfNegative val="0"/>
            <c:bubble3D val="0"/>
            <c:spPr>
              <a:solidFill>
                <a:srgbClr val="D7CEB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39D-4063-A395-1E329EC9A046}"/>
              </c:ext>
            </c:extLst>
          </c:dPt>
          <c:dPt>
            <c:idx val="3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39D-4063-A395-1E329EC9A046}"/>
              </c:ext>
            </c:extLst>
          </c:dPt>
          <c:dPt>
            <c:idx val="4"/>
            <c:invertIfNegative val="0"/>
            <c:bubble3D val="0"/>
            <c:spPr>
              <a:solidFill>
                <a:srgbClr val="D9D9D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739D-4063-A395-1E329EC9A046}"/>
              </c:ext>
            </c:extLst>
          </c:dPt>
          <c:dPt>
            <c:idx val="5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AB12-4F4D-BD3C-4593B87DD2FC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CAD 157</a:t>
                    </a:r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6183368869936"/>
                      <c:h val="8.1334599435233204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7-739D-4063-A395-1E329EC9A04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CAD 67,000</a:t>
                    </a:r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6183368869936"/>
                      <c:h val="8.1334599435233204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6-739D-4063-A395-1E329EC9A04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CAD 761</a:t>
                    </a:r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6183368869936"/>
                      <c:h val="8.1334599435233204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3-739D-4063-A395-1E329EC9A046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CAD 0</a:t>
                    </a:r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6183368869936"/>
                      <c:h val="8.1334599435233204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5-739D-4063-A395-1E329EC9A046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/>
                      <a:t>CAD 435</a:t>
                    </a:r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6183368869936"/>
                      <c:h val="8.1334599435233204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4-739D-4063-A395-1E329EC9A046}"/>
                </c:ext>
              </c:extLst>
            </c:dLbl>
            <c:dLbl>
              <c:idx val="5"/>
              <c:tx>
                <c:rich>
                  <a:bodyPr rot="0" spcFirstLastPara="1" vertOverflow="ellipsis" vert="horz" wrap="none" lIns="38100" tIns="19050" rIns="38100" bIns="19050" anchor="ctr" anchorCtr="0">
                    <a:noAutofit/>
                  </a:bodyPr>
                  <a:lstStyle/>
                  <a:p>
                    <a:pPr algn="r">
                      <a:defRPr sz="16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chemeClr val="bg1"/>
                        </a:solidFill>
                      </a:rPr>
                      <a:t>CAD 68,353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906183368869936"/>
                      <c:h val="8.1300813008130079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0-AB12-4F4D-BD3C-4593B87DD2F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t" anchorCtr="0">
                <a:spAutoFit/>
              </a:bodyPr>
              <a:lstStyle/>
              <a:p>
                <a:pPr algn="r">
                  <a:defRPr sz="1600" b="1" i="0" u="none" strike="noStrike" kern="1200" baseline="0">
                    <a:solidFill>
                      <a:srgbClr val="524F53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TOTAL</c:v>
                </c:pt>
              </c:strCache>
            </c:strRef>
          </c:cat>
          <c:val>
            <c:numRef>
              <c:f>Sheet1!$B$2:$B$7</c:f>
              <c:numCache>
                <c:formatCode>#,##0</c:formatCode>
                <c:ptCount val="6"/>
                <c:pt idx="0">
                  <c:v>157.14285714285717</c:v>
                </c:pt>
                <c:pt idx="1">
                  <c:v>67000</c:v>
                </c:pt>
                <c:pt idx="2">
                  <c:v>760.86956521739125</c:v>
                </c:pt>
                <c:pt idx="3">
                  <c:v>0</c:v>
                </c:pt>
                <c:pt idx="4">
                  <c:v>434.78260869565219</c:v>
                </c:pt>
                <c:pt idx="5">
                  <c:v>68352.7950310558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9D-4063-A395-1E329EC9A04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TOTAL</c:v>
                </c:pt>
              </c:strCache>
            </c:strRef>
          </c:cat>
          <c:val>
            <c:numRef>
              <c:f>Sheet1!$C$2:$C$7</c:f>
              <c:numCache>
                <c:formatCode>#,##0</c:formatCode>
                <c:ptCount val="6"/>
                <c:pt idx="0">
                  <c:v>68195.65217391304</c:v>
                </c:pt>
                <c:pt idx="1">
                  <c:v>1352.7950310558954</c:v>
                </c:pt>
                <c:pt idx="2">
                  <c:v>67591.925465838503</c:v>
                </c:pt>
                <c:pt idx="3">
                  <c:v>68352.795031055895</c:v>
                </c:pt>
                <c:pt idx="4">
                  <c:v>67918.0124223602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F1-4B72-9043-7220548511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197418744"/>
        <c:axId val="1197416944"/>
      </c:barChart>
      <c:catAx>
        <c:axId val="1197418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97416944"/>
        <c:crosses val="autoZero"/>
        <c:auto val="1"/>
        <c:lblAlgn val="ctr"/>
        <c:lblOffset val="100"/>
        <c:noMultiLvlLbl val="0"/>
      </c:catAx>
      <c:valAx>
        <c:axId val="1197416944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97418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551018194518866E-2"/>
          <c:y val="4.230769230769231E-2"/>
          <c:w val="0.93265306663562053"/>
          <c:h val="0.9153846153846153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>
                <a:shade val="76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5654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91D-49CC-A627-47757218C944}"/>
              </c:ext>
            </c:extLst>
          </c:dPt>
          <c:dPt>
            <c:idx val="1"/>
            <c:invertIfNegative val="0"/>
            <c:bubble3D val="0"/>
            <c:spPr>
              <a:solidFill>
                <a:srgbClr val="B9AA8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91D-49CC-A627-47757218C944}"/>
              </c:ext>
            </c:extLst>
          </c:dPt>
          <c:dPt>
            <c:idx val="2"/>
            <c:invertIfNegative val="0"/>
            <c:bubble3D val="0"/>
            <c:spPr>
              <a:solidFill>
                <a:srgbClr val="D7CEB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91D-49CC-A627-47757218C944}"/>
              </c:ext>
            </c:extLst>
          </c:dPt>
          <c:dPt>
            <c:idx val="3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91D-49CC-A627-47757218C944}"/>
              </c:ext>
            </c:extLst>
          </c:dPt>
          <c:dPt>
            <c:idx val="4"/>
            <c:invertIfNegative val="0"/>
            <c:bubble3D val="0"/>
            <c:spPr>
              <a:solidFill>
                <a:srgbClr val="D9D9D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F91D-49CC-A627-47757218C944}"/>
              </c:ext>
            </c:extLst>
          </c:dPt>
          <c:dPt>
            <c:idx val="5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3331-4FCF-8B6F-5EC46830940C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CAD 1,286</a:t>
                    </a:r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711448334715949"/>
                      <c:h val="8.1381873306731314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1-F91D-49CC-A627-47757218C944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CAD 1</a:t>
                    </a:r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711448334715949"/>
                      <c:h val="8.1381873306731314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3-F91D-49CC-A627-47757218C94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CAD 2,109</a:t>
                    </a:r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711448334715949"/>
                      <c:h val="8.1381873306731314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5-F91D-49CC-A627-47757218C944}"/>
                </c:ext>
              </c:extLst>
            </c:dLbl>
            <c:dLbl>
              <c:idx val="3"/>
              <c:layout>
                <c:manualLayout>
                  <c:x val="-5.0395249074842198E-2"/>
                  <c:y val="-3.7661142241686082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CAD 0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711448334715949"/>
                      <c:h val="8.1381873306731314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7-F91D-49CC-A627-47757218C944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/>
                      <a:t>CAD 5,217</a:t>
                    </a:r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90711448334715949"/>
                      <c:h val="8.1381873306731314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9-F91D-49CC-A627-47757218C944}"/>
                </c:ext>
              </c:extLst>
            </c:dLbl>
            <c:dLbl>
              <c:idx val="5"/>
              <c:tx>
                <c:rich>
                  <a:bodyPr rot="0" spcFirstLastPara="1" vertOverflow="ellipsis" vert="horz" wrap="none" lIns="0" tIns="0" rIns="0" bIns="0" anchor="t" anchorCtr="0">
                    <a:noAutofit/>
                  </a:bodyPr>
                  <a:lstStyle/>
                  <a:p>
                    <a:pPr algn="l">
                      <a:defRPr sz="16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600" dirty="0">
                        <a:solidFill>
                          <a:schemeClr val="bg1"/>
                        </a:solidFill>
                      </a:rPr>
                      <a:t>CAD 8,613</a:t>
                    </a:r>
                  </a:p>
                </c:rich>
              </c:tx>
              <c:numFmt formatCode="General" sourceLinked="0"/>
              <c:spPr>
                <a:noFill/>
                <a:ln w="0"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89347812183279052"/>
                      <c:h val="8.1348067242041938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0-3331-4FCF-8B6F-5EC4683094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t" anchorCtr="0">
                <a:spAutoFit/>
              </a:bodyPr>
              <a:lstStyle/>
              <a:p>
                <a:pPr algn="l">
                  <a:defRPr sz="1600" b="1" i="0" u="none" strike="noStrike" kern="1200" baseline="0">
                    <a:solidFill>
                      <a:srgbClr val="524F53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TOTAL</c:v>
                </c:pt>
              </c:strCache>
            </c:strRef>
          </c:cat>
          <c:val>
            <c:numRef>
              <c:f>Sheet1!$B$2:$B$7</c:f>
              <c:numCache>
                <c:formatCode>#,##0</c:formatCode>
                <c:ptCount val="6"/>
                <c:pt idx="0">
                  <c:v>1285.7142857142858</c:v>
                </c:pt>
                <c:pt idx="1">
                  <c:v>0.84</c:v>
                </c:pt>
                <c:pt idx="2">
                  <c:v>2108.695652173913</c:v>
                </c:pt>
                <c:pt idx="3">
                  <c:v>0</c:v>
                </c:pt>
                <c:pt idx="4">
                  <c:v>5217.391304347826</c:v>
                </c:pt>
                <c:pt idx="5">
                  <c:v>8612.64124223602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91D-49CC-A627-47757218C94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 w="25400" cap="flat" cmpd="sng" algn="ctr">
              <a:noFill/>
              <a:prstDash val="solid"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TOTAL</c:v>
                </c:pt>
              </c:strCache>
            </c:strRef>
          </c:cat>
          <c:val>
            <c:numRef>
              <c:f>Sheet1!$C$2:$C$7</c:f>
              <c:numCache>
                <c:formatCode>#,##0</c:formatCode>
                <c:ptCount val="6"/>
                <c:pt idx="0">
                  <c:v>7326.9269565217382</c:v>
                </c:pt>
                <c:pt idx="1">
                  <c:v>8611.8012422360243</c:v>
                </c:pt>
                <c:pt idx="2">
                  <c:v>6503.9455900621115</c:v>
                </c:pt>
                <c:pt idx="3">
                  <c:v>8612.6412422360245</c:v>
                </c:pt>
                <c:pt idx="4">
                  <c:v>3395.24993788819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A0-47AF-8814-FBF6C1680E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197418744"/>
        <c:axId val="1197416944"/>
      </c:barChart>
      <c:catAx>
        <c:axId val="1197418744"/>
        <c:scaling>
          <c:orientation val="minMax"/>
        </c:scaling>
        <c:delete val="1"/>
        <c:axPos val="r"/>
        <c:numFmt formatCode="General" sourceLinked="1"/>
        <c:majorTickMark val="out"/>
        <c:minorTickMark val="none"/>
        <c:tickLblPos val="nextTo"/>
        <c:crossAx val="1197416944"/>
        <c:crosses val="autoZero"/>
        <c:auto val="1"/>
        <c:lblAlgn val="ctr"/>
        <c:lblOffset val="100"/>
        <c:noMultiLvlLbl val="0"/>
      </c:catAx>
      <c:valAx>
        <c:axId val="1197416944"/>
        <c:scaling>
          <c:orientation val="maxMin"/>
        </c:scaling>
        <c:delete val="1"/>
        <c:axPos val="b"/>
        <c:numFmt formatCode="0%" sourceLinked="1"/>
        <c:majorTickMark val="out"/>
        <c:minorTickMark val="none"/>
        <c:tickLblPos val="nextTo"/>
        <c:crossAx val="1197418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2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3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4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14B4F932-6CAA-4259-8195-1DC9FB511F4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701013" y="8749865"/>
            <a:ext cx="4319987" cy="1876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sz="1000"/>
              <a:t>Hilti PowerPoint Template | April 2021</a:t>
            </a:r>
            <a:endParaRPr lang="en-US" sz="1000" noProof="0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64FBF31F-E36A-4AB1-8EFD-346B70E5B0E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379712" y="8750624"/>
            <a:ext cx="361288" cy="1868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B4178FD-43BF-4968-A299-3450DC0CDF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4F94C181-13F3-4F4A-8502-D321961B5950}"/>
              </a:ext>
            </a:extLst>
          </p:cNvPr>
          <p:cNvSpPr>
            <a:spLocks noChangeAspect="1"/>
          </p:cNvSpPr>
          <p:nvPr/>
        </p:nvSpPr>
        <p:spPr bwMode="auto">
          <a:xfrm>
            <a:off x="6184037" y="8742557"/>
            <a:ext cx="127259" cy="216000"/>
          </a:xfrm>
          <a:custGeom>
            <a:avLst/>
            <a:gdLst>
              <a:gd name="T0" fmla="*/ 1544 w 1570"/>
              <a:gd name="T1" fmla="*/ 0 h 2675"/>
              <a:gd name="T2" fmla="*/ 1544 w 1570"/>
              <a:gd name="T3" fmla="*/ 0 h 2675"/>
              <a:gd name="T4" fmla="*/ 0 w 1570"/>
              <a:gd name="T5" fmla="*/ 2675 h 2675"/>
              <a:gd name="T6" fmla="*/ 26 w 1570"/>
              <a:gd name="T7" fmla="*/ 2675 h 2675"/>
              <a:gd name="T8" fmla="*/ 1570 w 1570"/>
              <a:gd name="T9" fmla="*/ 0 h 2675"/>
              <a:gd name="T10" fmla="*/ 1544 w 1570"/>
              <a:gd name="T11" fmla="*/ 0 h 26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570" h="2675">
                <a:moveTo>
                  <a:pt x="1544" y="0"/>
                </a:moveTo>
                <a:lnTo>
                  <a:pt x="1544" y="0"/>
                </a:lnTo>
                <a:lnTo>
                  <a:pt x="0" y="2675"/>
                </a:lnTo>
                <a:lnTo>
                  <a:pt x="26" y="2675"/>
                </a:lnTo>
                <a:lnTo>
                  <a:pt x="1570" y="0"/>
                </a:lnTo>
                <a:lnTo>
                  <a:pt x="1544" y="0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chteck 7">
            <a:extLst>
              <a:ext uri="{FF2B5EF4-FFF2-40B4-BE49-F238E27FC236}">
                <a16:creationId xmlns:a16="http://schemas.microsoft.com/office/drawing/2014/main" id="{0F5FE7C7-A04F-4666-900A-B27056F1E8A9}"/>
              </a:ext>
            </a:extLst>
          </p:cNvPr>
          <p:cNvSpPr/>
          <p:nvPr/>
        </p:nvSpPr>
        <p:spPr>
          <a:xfrm>
            <a:off x="6243630" y="8710313"/>
            <a:ext cx="152079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0" name="Rechteck 10">
            <a:extLst>
              <a:ext uri="{FF2B5EF4-FFF2-40B4-BE49-F238E27FC236}">
                <a16:creationId xmlns:a16="http://schemas.microsoft.com/office/drawing/2014/main" id="{F932D2EF-1A64-4524-BCD8-2161E923D7F4}"/>
              </a:ext>
            </a:extLst>
          </p:cNvPr>
          <p:cNvSpPr/>
          <p:nvPr/>
        </p:nvSpPr>
        <p:spPr>
          <a:xfrm>
            <a:off x="6127244" y="8958316"/>
            <a:ext cx="152079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94094E35-BD3A-44F5-82C1-6B51CA922B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7000" y="8748000"/>
            <a:ext cx="870754" cy="2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730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7000" y="324000"/>
            <a:ext cx="4704000" cy="2646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5F3D890A-191F-4D46-8A21-FDDA3B448C5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1701013" y="8749865"/>
            <a:ext cx="4319987" cy="1876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sz="1000"/>
              <a:t>Hilti PowerPoint Template | April 2021</a:t>
            </a:r>
            <a:endParaRPr lang="en-US" sz="1000" noProof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C25BD0C4-E29D-49CB-93CE-FB6A04A037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6379712" y="8750624"/>
            <a:ext cx="361288" cy="1868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B4178FD-43BF-4968-A299-3450DC0CDF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8DB6189D-CAEC-497D-B268-1578A435FFD9}"/>
              </a:ext>
            </a:extLst>
          </p:cNvPr>
          <p:cNvSpPr>
            <a:spLocks noChangeAspect="1"/>
          </p:cNvSpPr>
          <p:nvPr/>
        </p:nvSpPr>
        <p:spPr bwMode="auto">
          <a:xfrm>
            <a:off x="6184037" y="8742557"/>
            <a:ext cx="127259" cy="216000"/>
          </a:xfrm>
          <a:custGeom>
            <a:avLst/>
            <a:gdLst>
              <a:gd name="T0" fmla="*/ 1544 w 1570"/>
              <a:gd name="T1" fmla="*/ 0 h 2675"/>
              <a:gd name="T2" fmla="*/ 1544 w 1570"/>
              <a:gd name="T3" fmla="*/ 0 h 2675"/>
              <a:gd name="T4" fmla="*/ 0 w 1570"/>
              <a:gd name="T5" fmla="*/ 2675 h 2675"/>
              <a:gd name="T6" fmla="*/ 26 w 1570"/>
              <a:gd name="T7" fmla="*/ 2675 h 2675"/>
              <a:gd name="T8" fmla="*/ 1570 w 1570"/>
              <a:gd name="T9" fmla="*/ 0 h 2675"/>
              <a:gd name="T10" fmla="*/ 1544 w 1570"/>
              <a:gd name="T11" fmla="*/ 0 h 26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570" h="2675">
                <a:moveTo>
                  <a:pt x="1544" y="0"/>
                </a:moveTo>
                <a:lnTo>
                  <a:pt x="1544" y="0"/>
                </a:lnTo>
                <a:lnTo>
                  <a:pt x="0" y="2675"/>
                </a:lnTo>
                <a:lnTo>
                  <a:pt x="26" y="2675"/>
                </a:lnTo>
                <a:lnTo>
                  <a:pt x="1570" y="0"/>
                </a:lnTo>
                <a:lnTo>
                  <a:pt x="1544" y="0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Rechteck 7">
            <a:extLst>
              <a:ext uri="{FF2B5EF4-FFF2-40B4-BE49-F238E27FC236}">
                <a16:creationId xmlns:a16="http://schemas.microsoft.com/office/drawing/2014/main" id="{F0B59A60-1ACD-41FA-9D17-2689A5DD5C99}"/>
              </a:ext>
            </a:extLst>
          </p:cNvPr>
          <p:cNvSpPr/>
          <p:nvPr/>
        </p:nvSpPr>
        <p:spPr>
          <a:xfrm>
            <a:off x="6243630" y="8710313"/>
            <a:ext cx="152079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hteck 10">
            <a:extLst>
              <a:ext uri="{FF2B5EF4-FFF2-40B4-BE49-F238E27FC236}">
                <a16:creationId xmlns:a16="http://schemas.microsoft.com/office/drawing/2014/main" id="{5B1DC4F0-4E85-4A64-962F-E2385F7C2179}"/>
              </a:ext>
            </a:extLst>
          </p:cNvPr>
          <p:cNvSpPr/>
          <p:nvPr/>
        </p:nvSpPr>
        <p:spPr>
          <a:xfrm>
            <a:off x="6127244" y="8958316"/>
            <a:ext cx="152079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4" name="Notes Placeholder 13">
            <a:extLst>
              <a:ext uri="{FF2B5EF4-FFF2-40B4-BE49-F238E27FC236}">
                <a16:creationId xmlns:a16="http://schemas.microsoft.com/office/drawing/2014/main" id="{A661A81D-95C1-452D-94DA-9C4066FBE99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77000" y="3276000"/>
            <a:ext cx="6048000" cy="5112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 err="1"/>
              <a:t>Filevel</a:t>
            </a:r>
            <a:endParaRPr lang="en-US"/>
          </a:p>
          <a:p>
            <a:pPr lvl="5"/>
            <a:r>
              <a:rPr lang="en-US"/>
              <a:t>5</a:t>
            </a:r>
          </a:p>
          <a:p>
            <a:pPr lvl="6"/>
            <a:r>
              <a:rPr lang="en-US"/>
              <a:t>6</a:t>
            </a:r>
          </a:p>
          <a:p>
            <a:pPr lvl="7"/>
            <a:r>
              <a:rPr lang="en-US"/>
              <a:t>7</a:t>
            </a:r>
          </a:p>
          <a:p>
            <a:pPr lvl="8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895AE63D-C204-43A9-BC02-84E1017AA6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7000" y="8748000"/>
            <a:ext cx="870754" cy="2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7249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0975" indent="-180975" algn="l" defTabSz="1219170" rtl="0" eaLnBrk="1" latinLnBrk="0" hangingPunct="1">
      <a:lnSpc>
        <a:spcPct val="107000"/>
      </a:lnSpc>
      <a:spcBef>
        <a:spcPts val="600"/>
      </a:spcBef>
      <a:buClr>
        <a:schemeClr val="accent5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1219170" rtl="0" eaLnBrk="1" latinLnBrk="0" hangingPunct="1">
      <a:lnSpc>
        <a:spcPct val="107000"/>
      </a:lnSpc>
      <a:spcBef>
        <a:spcPts val="600"/>
      </a:spcBef>
      <a:buFont typeface="Arial" panose="020B0604020202020204" pitchFamily="34" charset="0"/>
      <a:buNone/>
      <a:defRPr sz="1400" b="1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1219170" rtl="0" eaLnBrk="1" latinLnBrk="0" hangingPunct="1">
      <a:lnSpc>
        <a:spcPct val="107000"/>
      </a:lnSpc>
      <a:spcBef>
        <a:spcPts val="600"/>
      </a:spcBef>
      <a:buClr>
        <a:schemeClr val="accent5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1219170" rtl="0" eaLnBrk="1" latinLnBrk="0" hangingPunct="1">
      <a:lnSpc>
        <a:spcPct val="107000"/>
      </a:lnSpc>
      <a:spcBef>
        <a:spcPts val="600"/>
      </a:spcBef>
      <a:buClr>
        <a:schemeClr val="accent5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1219170" rtl="0" eaLnBrk="1" latinLnBrk="0" hangingPunct="1">
      <a:lnSpc>
        <a:spcPct val="107000"/>
      </a:lnSpc>
      <a:spcBef>
        <a:spcPts val="600"/>
      </a:spcBef>
      <a:buClr>
        <a:schemeClr val="accent5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901700" indent="-180975" algn="l" defTabSz="1219170" rtl="0" eaLnBrk="1" latinLnBrk="0" hangingPunct="1">
      <a:lnSpc>
        <a:spcPct val="107000"/>
      </a:lnSpc>
      <a:spcBef>
        <a:spcPts val="600"/>
      </a:spcBef>
      <a:buClr>
        <a:schemeClr val="accent5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901700" indent="-180975" algn="l" defTabSz="1219170" rtl="0" eaLnBrk="1" latinLnBrk="0" hangingPunct="1">
      <a:lnSpc>
        <a:spcPct val="107000"/>
      </a:lnSpc>
      <a:spcBef>
        <a:spcPts val="600"/>
      </a:spcBef>
      <a:buClr>
        <a:schemeClr val="accent5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901700" indent="-180975" algn="l" defTabSz="1219170" rtl="0" eaLnBrk="1" latinLnBrk="0" hangingPunct="1">
      <a:lnSpc>
        <a:spcPct val="107000"/>
      </a:lnSpc>
      <a:spcBef>
        <a:spcPts val="600"/>
      </a:spcBef>
      <a:buClr>
        <a:schemeClr val="accent5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901700" indent="-180975" algn="l" defTabSz="1219170" rtl="0" eaLnBrk="1" latinLnBrk="0" hangingPunct="1">
      <a:lnSpc>
        <a:spcPct val="107000"/>
      </a:lnSpc>
      <a:spcBef>
        <a:spcPts val="600"/>
      </a:spcBef>
      <a:buClr>
        <a:schemeClr val="accent5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23850"/>
            <a:ext cx="4705350" cy="2646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4178FD-43BF-4968-A299-3450DC0CDF97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29091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23850"/>
            <a:ext cx="4705350" cy="2646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Quotes from contacts we worked with throughout the analysi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4178FD-43BF-4968-A299-3450DC0CDF97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20829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23850"/>
            <a:ext cx="4705350" cy="2646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4178FD-43BF-4968-A299-3450DC0CDF97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0010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23850"/>
            <a:ext cx="4705350" cy="2646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4178FD-43BF-4968-A299-3450DC0CDF97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26068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23850"/>
            <a:ext cx="4705350" cy="2646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4178FD-43BF-4968-A299-3450DC0CDF97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1735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23850"/>
            <a:ext cx="4705350" cy="2646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4178FD-43BF-4968-A299-3450DC0CDF97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73168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23850"/>
            <a:ext cx="4705350" cy="2646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4178FD-43BF-4968-A299-3450DC0CDF97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58200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42FC52-AB05-7B31-DAA4-6343594AAC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9B90F61-4AC6-BA9D-5DA2-B7098AEC45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76250" y="323850"/>
            <a:ext cx="4705350" cy="264636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84C9E43-52A4-A8C0-0A20-96857A1148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BA95FF-31CE-9EBA-6083-CBE444F446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4178FD-43BF-4968-A299-3450DC0CDF97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55474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014B12-502B-0B36-D5AC-CE4A3EE542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03C2637-BBB6-8BC3-D9A2-94CF9B9B391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76250" y="323850"/>
            <a:ext cx="4705350" cy="264636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E47250C-93A4-84BC-F6BE-6EBD999FAF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BC72DC-AB0C-0ABB-CF59-F900AF3D91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4178FD-43BF-4968-A299-3450DC0CDF97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62500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23850"/>
            <a:ext cx="4705350" cy="2646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4178FD-43BF-4968-A299-3450DC0CDF97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73648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23850"/>
            <a:ext cx="4705350" cy="2646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 the 6</a:t>
            </a:r>
            <a:r>
              <a:rPr lang="en-US" baseline="30000" dirty="0"/>
              <a:t>th</a:t>
            </a:r>
            <a:r>
              <a:rPr lang="en-US" dirty="0"/>
              <a:t> flag for ongoing car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4178FD-43BF-4968-A299-3450DC0CDF97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57575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23850"/>
            <a:ext cx="4705350" cy="2646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/>
              <a:t>Another option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4178FD-43BF-4968-A299-3450DC0CDF97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18255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23850"/>
            <a:ext cx="4705350" cy="2646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7000" y="3276000"/>
            <a:ext cx="6120000" cy="518220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B68D2766-C49B-4C1A-9FEE-6F146754B02B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69228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23850"/>
            <a:ext cx="4705350" cy="2646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7000" y="3276000"/>
            <a:ext cx="6120000" cy="5182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Copyright </a:t>
            </a:r>
            <a:r>
              <a:rPr lang="en-US" b="1"/>
              <a:t>PresentationGO.com</a:t>
            </a:r>
            <a:r>
              <a:rPr lang="en-US"/>
              <a:t> – The free PowerPoint and Google Slides template libra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B68D2766-C49B-4C1A-9FEE-6F146754B02B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90035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23850"/>
            <a:ext cx="4705350" cy="2646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/>
              <a:t>Tried to make it differen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4178FD-43BF-4968-A299-3450DC0CDF97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5906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23850"/>
            <a:ext cx="4705350" cy="2646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Our guiding principles are centered around productivity. Our aim is to increase productive hours for your worker by eliminating downtime or non-value-added work, and to increase productivity within the hours they are performing their craft.</a:t>
            </a:r>
          </a:p>
          <a:p>
            <a:r>
              <a:rPr lang="en-US"/>
              <a:t>We looked into these 5 areas of productivity drivers:  </a:t>
            </a:r>
            <a:r>
              <a:rPr lang="en-US" b="1" i="1"/>
              <a:t>click on each number to see the details behind the 5 dimensions; then click on the ‘target sign’ and it’ll take you back here.</a:t>
            </a:r>
          </a:p>
          <a:p>
            <a:r>
              <a:rPr lang="en-US" b="1" i="0"/>
              <a:t>VDC: would need another MM with a BIM PM</a:t>
            </a:r>
            <a:endParaRPr lang="en-US" i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4178FD-43BF-4968-A299-3450DC0CDF97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78666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23850"/>
            <a:ext cx="4705350" cy="2646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b="0" strike="no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4178FD-43BF-4968-A299-3450DC0CDF97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67552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23850"/>
            <a:ext cx="4705350" cy="2646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Linked to an excel sheet to change columns automatically </a:t>
            </a:r>
          </a:p>
          <a:p>
            <a:pPr marL="0" indent="0">
              <a:buNone/>
            </a:pPr>
            <a:r>
              <a:rPr lang="en-US" b="1" dirty="0"/>
              <a:t>Customer language and situation today – Trey </a:t>
            </a:r>
          </a:p>
          <a:p>
            <a:pPr marL="0" indent="0">
              <a:buNone/>
            </a:pPr>
            <a:r>
              <a:rPr lang="en-US" b="1" dirty="0"/>
              <a:t>Current Situation Snapshot </a:t>
            </a:r>
          </a:p>
          <a:p>
            <a:pPr marL="0" indent="0">
              <a:buNone/>
            </a:pPr>
            <a:r>
              <a:rPr lang="en-US" b="1" dirty="0"/>
              <a:t>What part of the organization was analyzed? </a:t>
            </a:r>
          </a:p>
          <a:p>
            <a:pPr marL="0" indent="0">
              <a:buNone/>
            </a:pPr>
            <a:r>
              <a:rPr lang="en-US" b="1" dirty="0"/>
              <a:t>Jobsite specifically/ analysis based on callout box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4178FD-43BF-4968-A299-3450DC0CDF97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9390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23850"/>
            <a:ext cx="4705350" cy="2646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/>
              <a:t>Linked to an excel sheet to change columns automatically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4178FD-43BF-4968-A299-3450DC0CDF97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356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23850"/>
            <a:ext cx="4705350" cy="2646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Linked to an excel sheet to change columns automatically </a:t>
            </a:r>
          </a:p>
          <a:p>
            <a:pPr marL="0" indent="0">
              <a:buNone/>
            </a:pPr>
            <a:r>
              <a:rPr lang="en-US" b="1" dirty="0"/>
              <a:t>How to get them to think about scaling to total organization size/ exploration to show full org impact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4178FD-43BF-4968-A299-3450DC0CDF97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23434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23850"/>
            <a:ext cx="4705350" cy="2646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Linked to an excel sheet to change columns automatically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4178FD-43BF-4968-A299-3450DC0CDF97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96754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4.sv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4.sv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4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01 w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Logo">
            <a:extLst>
              <a:ext uri="{FF2B5EF4-FFF2-40B4-BE49-F238E27FC236}">
                <a16:creationId xmlns:a16="http://schemas.microsoft.com/office/drawing/2014/main" id="{484C9887-7684-4FB6-9A9C-EB3371F456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408000" y="405000"/>
            <a:ext cx="2160000" cy="509021"/>
          </a:xfrm>
          <a:prstGeom prst="rect">
            <a:avLst/>
          </a:prstGeom>
        </p:spPr>
      </p:pic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151646" y="-1285"/>
            <a:ext cx="10040355" cy="6862460"/>
          </a:xfrm>
          <a:custGeom>
            <a:avLst/>
            <a:gdLst>
              <a:gd name="connsiteX0" fmla="*/ 2963031 w 7530266"/>
              <a:gd name="connsiteY0" fmla="*/ 0 h 5145881"/>
              <a:gd name="connsiteX1" fmla="*/ 7530266 w 7530266"/>
              <a:gd name="connsiteY1" fmla="*/ 0 h 5145881"/>
              <a:gd name="connsiteX2" fmla="*/ 7530266 w 7530266"/>
              <a:gd name="connsiteY2" fmla="*/ 5143500 h 5145881"/>
              <a:gd name="connsiteX3" fmla="*/ 0 w 7530266"/>
              <a:gd name="connsiteY3" fmla="*/ 5145881 h 5145881"/>
              <a:gd name="connsiteX4" fmla="*/ 2963031 w 7530266"/>
              <a:gd name="connsiteY4" fmla="*/ 0 h 5145881"/>
              <a:gd name="connsiteX0" fmla="*/ 2970175 w 7530266"/>
              <a:gd name="connsiteY0" fmla="*/ 2381 h 5145881"/>
              <a:gd name="connsiteX1" fmla="*/ 7530266 w 7530266"/>
              <a:gd name="connsiteY1" fmla="*/ 0 h 5145881"/>
              <a:gd name="connsiteX2" fmla="*/ 7530266 w 7530266"/>
              <a:gd name="connsiteY2" fmla="*/ 5143500 h 5145881"/>
              <a:gd name="connsiteX3" fmla="*/ 0 w 7530266"/>
              <a:gd name="connsiteY3" fmla="*/ 5145881 h 5145881"/>
              <a:gd name="connsiteX4" fmla="*/ 2970175 w 7530266"/>
              <a:gd name="connsiteY4" fmla="*/ 2381 h 5145881"/>
              <a:gd name="connsiteX0" fmla="*/ 2973520 w 7530266"/>
              <a:gd name="connsiteY0" fmla="*/ 0 h 5146845"/>
              <a:gd name="connsiteX1" fmla="*/ 7530266 w 7530266"/>
              <a:gd name="connsiteY1" fmla="*/ 964 h 5146845"/>
              <a:gd name="connsiteX2" fmla="*/ 7530266 w 7530266"/>
              <a:gd name="connsiteY2" fmla="*/ 5144464 h 5146845"/>
              <a:gd name="connsiteX3" fmla="*/ 0 w 7530266"/>
              <a:gd name="connsiteY3" fmla="*/ 5146845 h 5146845"/>
              <a:gd name="connsiteX4" fmla="*/ 2973520 w 7530266"/>
              <a:gd name="connsiteY4" fmla="*/ 0 h 5146845"/>
              <a:gd name="connsiteX0" fmla="*/ 2968758 w 7530266"/>
              <a:gd name="connsiteY0" fmla="*/ 0 h 5146845"/>
              <a:gd name="connsiteX1" fmla="*/ 7530266 w 7530266"/>
              <a:gd name="connsiteY1" fmla="*/ 964 h 5146845"/>
              <a:gd name="connsiteX2" fmla="*/ 7530266 w 7530266"/>
              <a:gd name="connsiteY2" fmla="*/ 5144464 h 5146845"/>
              <a:gd name="connsiteX3" fmla="*/ 0 w 7530266"/>
              <a:gd name="connsiteY3" fmla="*/ 5146845 h 5146845"/>
              <a:gd name="connsiteX4" fmla="*/ 2968758 w 7530266"/>
              <a:gd name="connsiteY4" fmla="*/ 0 h 5146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30266" h="5146845">
                <a:moveTo>
                  <a:pt x="2968758" y="0"/>
                </a:moveTo>
                <a:lnTo>
                  <a:pt x="7530266" y="964"/>
                </a:lnTo>
                <a:lnTo>
                  <a:pt x="7530266" y="5144464"/>
                </a:lnTo>
                <a:lnTo>
                  <a:pt x="0" y="5146845"/>
                </a:lnTo>
                <a:cubicBezTo>
                  <a:pt x="996408" y="3432345"/>
                  <a:pt x="1972350" y="1714500"/>
                  <a:pt x="2968758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lIns="90000" tIns="46800" rIns="90000" bIns="46800" rtlCol="0">
            <a:noAutofit/>
          </a:bodyPr>
          <a:lstStyle>
            <a:lvl1pPr marL="239994" indent="-239994" algn="r">
              <a:buNone/>
              <a:defRPr lang="de-DE" dirty="0"/>
            </a:lvl1pPr>
          </a:lstStyle>
          <a:p>
            <a:pPr marL="0" lvl="0" indent="0"/>
            <a:r>
              <a:rPr lang="en-US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8" y="1460940"/>
            <a:ext cx="3887787" cy="1139967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8" y="3140969"/>
            <a:ext cx="3335750" cy="874044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1pPr>
            <a:lvl2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2pPr>
            <a:lvl3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3pPr>
            <a:lvl4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4pPr>
            <a:lvl5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5pPr>
            <a:lvl6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r>
              <a:rPr lang="en-US" noProof="0"/>
              <a:t>Click to edit Master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43606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olored area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3">
            <a:extLst>
              <a:ext uri="{FF2B5EF4-FFF2-40B4-BE49-F238E27FC236}">
                <a16:creationId xmlns:a16="http://schemas.microsoft.com/office/drawing/2014/main" id="{4432CC70-9ECB-4BF8-80FE-3140A6E49078}"/>
              </a:ext>
            </a:extLst>
          </p:cNvPr>
          <p:cNvSpPr/>
          <p:nvPr/>
        </p:nvSpPr>
        <p:spPr bwMode="gray">
          <a:xfrm>
            <a:off x="0" y="-1"/>
            <a:ext cx="12192000" cy="63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266700" indent="-266700">
              <a:spcBef>
                <a:spcPts val="1000"/>
              </a:spcBef>
              <a:buClr>
                <a:srgbClr val="A19DA2"/>
              </a:buClr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ED1AA2E-EBD3-4EC3-A0BB-E5AAF80F9E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15654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olored area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6">
            <a:extLst>
              <a:ext uri="{FF2B5EF4-FFF2-40B4-BE49-F238E27FC236}">
                <a16:creationId xmlns:a16="http://schemas.microsoft.com/office/drawing/2014/main" id="{EDF3D851-1756-4790-A355-7547456FFD38}"/>
              </a:ext>
            </a:extLst>
          </p:cNvPr>
          <p:cNvSpPr/>
          <p:nvPr/>
        </p:nvSpPr>
        <p:spPr bwMode="gray">
          <a:xfrm>
            <a:off x="0" y="0"/>
            <a:ext cx="12192000" cy="6309613"/>
          </a:xfrm>
          <a:prstGeom prst="rect">
            <a:avLst/>
          </a:prstGeom>
          <a:solidFill>
            <a:srgbClr val="7A7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266700" indent="-266700">
              <a:spcBef>
                <a:spcPts val="10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ED1AA2E-EBD3-4EC3-A0BB-E5AAF80F9E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461759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/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6D89568-D22C-460F-8015-1A42C75A03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</a:t>
            </a:r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26541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4" progId="TCLayout.ActiveDocument.1">
                  <p:embed/>
                </p:oleObj>
              </mc:Choice>
              <mc:Fallback>
                <p:oleObj name="think-cell Slide" r:id="rId4" imgW="415" imgH="41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5C59004-476F-4FD2-8481-2B6532130C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8" y="837000"/>
            <a:ext cx="11376025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pPr lvl="0"/>
            <a:r>
              <a:rPr lang="en-US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5178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/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B7545B-5D67-4767-88F6-0D90429B67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>
              <a:spcBef>
                <a:spcPts val="1000"/>
              </a:spcBef>
              <a:buClr>
                <a:srgbClr val="A19DA2"/>
              </a:buClr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2EE9D1FB-F7BF-4BF0-ACEB-7FC700415B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8" y="837000"/>
            <a:ext cx="11376025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pPr lvl="0"/>
            <a:r>
              <a:rPr lang="en-US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178114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/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BFCA13-A8B0-4DA3-BD23-E74C07F457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  <p:sp>
        <p:nvSpPr>
          <p:cNvPr id="7" name="Rechteck 7"/>
          <p:cNvSpPr/>
          <p:nvPr/>
        </p:nvSpPr>
        <p:spPr bwMode="gray">
          <a:xfrm>
            <a:off x="8211670" y="0"/>
            <a:ext cx="3980329" cy="6858000"/>
          </a:xfrm>
          <a:custGeom>
            <a:avLst/>
            <a:gdLst>
              <a:gd name="connsiteX0" fmla="*/ 3629319 w 5724128"/>
              <a:gd name="connsiteY0" fmla="*/ 45244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3629319 w 5724128"/>
              <a:gd name="connsiteY4" fmla="*/ 45244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0 w 5724128"/>
              <a:gd name="connsiteY0" fmla="*/ 514350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4128" h="5143500">
                <a:moveTo>
                  <a:pt x="0" y="5143500"/>
                </a:moveTo>
                <a:lnTo>
                  <a:pt x="5724128" y="0"/>
                </a:lnTo>
                <a:lnTo>
                  <a:pt x="5724128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07988" y="1628775"/>
            <a:ext cx="8711438" cy="4392613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54B3EEEF-A498-4F04-AC6E-655D805C5B0A}"/>
              </a:ext>
            </a:extLst>
          </p:cNvPr>
          <p:cNvSpPr>
            <a:spLocks noChangeAspect="1"/>
          </p:cNvSpPr>
          <p:nvPr/>
        </p:nvSpPr>
        <p:spPr bwMode="gray">
          <a:xfrm>
            <a:off x="11228917" y="6462248"/>
            <a:ext cx="127259" cy="216000"/>
          </a:xfrm>
          <a:custGeom>
            <a:avLst/>
            <a:gdLst>
              <a:gd name="T0" fmla="*/ 1544 w 1570"/>
              <a:gd name="T1" fmla="*/ 0 h 2675"/>
              <a:gd name="T2" fmla="*/ 1544 w 1570"/>
              <a:gd name="T3" fmla="*/ 0 h 2675"/>
              <a:gd name="T4" fmla="*/ 0 w 1570"/>
              <a:gd name="T5" fmla="*/ 2675 h 2675"/>
              <a:gd name="T6" fmla="*/ 26 w 1570"/>
              <a:gd name="T7" fmla="*/ 2675 h 2675"/>
              <a:gd name="T8" fmla="*/ 1570 w 1570"/>
              <a:gd name="T9" fmla="*/ 0 h 2675"/>
              <a:gd name="T10" fmla="*/ 1544 w 1570"/>
              <a:gd name="T11" fmla="*/ 0 h 26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570" h="2675">
                <a:moveTo>
                  <a:pt x="1544" y="0"/>
                </a:moveTo>
                <a:lnTo>
                  <a:pt x="1544" y="0"/>
                </a:lnTo>
                <a:lnTo>
                  <a:pt x="0" y="2675"/>
                </a:lnTo>
                <a:lnTo>
                  <a:pt x="26" y="2675"/>
                </a:lnTo>
                <a:lnTo>
                  <a:pt x="1570" y="0"/>
                </a:lnTo>
                <a:lnTo>
                  <a:pt x="1544" y="0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B733DCD-D0ED-471A-8EE4-20DA9415D183}"/>
              </a:ext>
            </a:extLst>
          </p:cNvPr>
          <p:cNvSpPr/>
          <p:nvPr/>
        </p:nvSpPr>
        <p:spPr bwMode="gray">
          <a:xfrm>
            <a:off x="11288510" y="6430004"/>
            <a:ext cx="152079" cy="3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BB86EED-8D84-4E9A-BAC4-43E32953B56B}"/>
              </a:ext>
            </a:extLst>
          </p:cNvPr>
          <p:cNvSpPr/>
          <p:nvPr/>
        </p:nvSpPr>
        <p:spPr bwMode="gray">
          <a:xfrm>
            <a:off x="11172124" y="6678007"/>
            <a:ext cx="152079" cy="3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8F882618-E717-4461-9DA4-7269B0C40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8" y="837000"/>
            <a:ext cx="11376025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pPr lvl="0"/>
            <a:r>
              <a:rPr lang="en-US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33045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/Subtitl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 bwMode="gray">
          <a:xfrm>
            <a:off x="0" y="-1"/>
            <a:ext cx="12192000" cy="63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6E14674-A8B8-486E-A33B-2026846C75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>
              <a:spcBef>
                <a:spcPts val="1000"/>
              </a:spcBef>
              <a:buClr>
                <a:schemeClr val="tx1"/>
              </a:buClr>
              <a:defRPr/>
            </a:lvl1pPr>
            <a:lvl2pPr>
              <a:spcBef>
                <a:spcPts val="600"/>
              </a:spcBef>
              <a:buClr>
                <a:schemeClr val="tx1"/>
              </a:buClr>
              <a:defRPr/>
            </a:lvl2pPr>
            <a:lvl3pPr>
              <a:spcBef>
                <a:spcPts val="600"/>
              </a:spcBef>
              <a:buClr>
                <a:schemeClr val="tx1"/>
              </a:buClr>
              <a:defRPr/>
            </a:lvl3pPr>
            <a:lvl4pPr>
              <a:spcBef>
                <a:spcPts val="600"/>
              </a:spcBef>
              <a:buClr>
                <a:schemeClr val="tx1"/>
              </a:buClr>
              <a:defRPr/>
            </a:lvl4pPr>
            <a:lvl5pPr>
              <a:spcBef>
                <a:spcPts val="600"/>
              </a:spcBef>
              <a:buClr>
                <a:schemeClr val="tx1"/>
              </a:buClr>
              <a:defRPr/>
            </a:lvl5pPr>
            <a:lvl6pPr>
              <a:buClr>
                <a:schemeClr val="tx1"/>
              </a:buClr>
              <a:defRPr/>
            </a:lvl6pPr>
            <a:lvl7pPr>
              <a:buClr>
                <a:schemeClr val="tx1"/>
              </a:buClr>
              <a:defRPr/>
            </a:lvl7pPr>
            <a:lvl8pPr>
              <a:buClr>
                <a:schemeClr val="tx1"/>
              </a:buClr>
              <a:defRPr/>
            </a:lvl8pPr>
            <a:lvl9pPr>
              <a:buClr>
                <a:schemeClr val="tx1"/>
              </a:buClr>
              <a:defRPr/>
            </a:lvl9pPr>
          </a:lstStyle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E8EDBE-101B-4CEF-B0FE-0FB2A8C46F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8" y="837000"/>
            <a:ext cx="11376025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pPr lvl="0"/>
            <a:r>
              <a:rPr lang="en-US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52714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/Subtitl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gray">
          <a:xfrm>
            <a:off x="0" y="0"/>
            <a:ext cx="12192000" cy="6309613"/>
          </a:xfrm>
          <a:prstGeom prst="rect">
            <a:avLst/>
          </a:prstGeom>
          <a:solidFill>
            <a:srgbClr val="7A7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185E6F-5A43-4221-A518-7ACE31E21E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>
              <a:spcBef>
                <a:spcPts val="10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  <a:p>
            <a:pPr lvl="0"/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01297EAC-57A1-4653-A0D5-30F5A986A3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8" y="837000"/>
            <a:ext cx="11376025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348358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/>
        </p:nvSpPr>
        <p:spPr bwMode="gray">
          <a:xfrm>
            <a:off x="478366" y="6261315"/>
            <a:ext cx="11330268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/>
          </a:p>
        </p:txBody>
      </p:sp>
      <p:sp>
        <p:nvSpPr>
          <p:cNvPr id="9" name="object 3"/>
          <p:cNvSpPr/>
          <p:nvPr/>
        </p:nvSpPr>
        <p:spPr bwMode="gray">
          <a:xfrm>
            <a:off x="0" y="0"/>
            <a:ext cx="12192000" cy="6309613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9" y="1629000"/>
            <a:ext cx="8712348" cy="1512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</a:t>
            </a:r>
            <a:r>
              <a:rPr lang="en-US" noProof="0" err="1"/>
              <a:t>titlE</a:t>
            </a:r>
            <a:endParaRPr lang="en-US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5BCA23B-AFB3-4B91-8CB9-C84FE5D584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Executive Summary</a:t>
            </a:r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9BB3E24-4476-46A5-8CFD-EF46BE9795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2B4178FD-43BF-4968-A299-3450DC0CDF9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975178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 bwMode="gray">
          <a:xfrm>
            <a:off x="0" y="0"/>
            <a:ext cx="12192000" cy="6309613"/>
          </a:xfrm>
          <a:prstGeom prst="rect">
            <a:avLst/>
          </a:prstGeom>
          <a:solidFill>
            <a:srgbClr val="7A7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9" y="1629000"/>
            <a:ext cx="8712348" cy="1512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6A12BC1-0647-4853-8416-5A5D6DF8A9E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Executive Summary</a:t>
            </a:r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5610E1E-EAAA-4BDC-B026-5CF7A0B1A29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2B4178FD-43BF-4968-A299-3450DC0CDF9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51862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3"/>
          <p:cNvSpPr/>
          <p:nvPr/>
        </p:nvSpPr>
        <p:spPr bwMode="gray">
          <a:xfrm>
            <a:off x="0" y="0"/>
            <a:ext cx="12192000" cy="6309613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9" y="1629000"/>
            <a:ext cx="7200011" cy="1512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</a:t>
            </a:r>
            <a:r>
              <a:rPr lang="en-US" noProof="0" err="1"/>
              <a:t>titlE</a:t>
            </a:r>
            <a:endParaRPr lang="en-US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5BCA23B-AFB3-4B91-8CB9-C84FE5D584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Executive Summary</a:t>
            </a:r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9BB3E24-4476-46A5-8CFD-EF46BE9795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2B4178FD-43BF-4968-A299-3450DC0CDF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50CA8D7C-B784-4BCA-9D80-C3388554E119}"/>
              </a:ext>
            </a:extLst>
          </p:cNvPr>
          <p:cNvSpPr/>
          <p:nvPr/>
        </p:nvSpPr>
        <p:spPr bwMode="gray">
          <a:xfrm>
            <a:off x="7624055" y="1200987"/>
            <a:ext cx="2046995" cy="3427412"/>
          </a:xfrm>
          <a:prstGeom prst="parallelogram">
            <a:avLst>
              <a:gd name="adj" fmla="val 9714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660768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02 w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582837" y="-3960"/>
            <a:ext cx="7609164" cy="6861959"/>
          </a:xfrm>
          <a:custGeom>
            <a:avLst/>
            <a:gdLst>
              <a:gd name="connsiteX0" fmla="*/ 2979700 w 5724128"/>
              <a:gd name="connsiteY0" fmla="*/ 2381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2979700 w 5724128"/>
              <a:gd name="connsiteY4" fmla="*/ 2381 h 5143500"/>
              <a:gd name="connsiteX0" fmla="*/ 2970175 w 5714603"/>
              <a:gd name="connsiteY0" fmla="*/ 2381 h 5145881"/>
              <a:gd name="connsiteX1" fmla="*/ 5714603 w 5714603"/>
              <a:gd name="connsiteY1" fmla="*/ 0 h 5145881"/>
              <a:gd name="connsiteX2" fmla="*/ 5714603 w 5714603"/>
              <a:gd name="connsiteY2" fmla="*/ 5143500 h 5145881"/>
              <a:gd name="connsiteX3" fmla="*/ 0 w 5714603"/>
              <a:gd name="connsiteY3" fmla="*/ 5145881 h 5145881"/>
              <a:gd name="connsiteX4" fmla="*/ 2970175 w 5714603"/>
              <a:gd name="connsiteY4" fmla="*/ 2381 h 5145881"/>
              <a:gd name="connsiteX0" fmla="*/ 2967207 w 5711635"/>
              <a:gd name="connsiteY0" fmla="*/ 2381 h 5143500"/>
              <a:gd name="connsiteX1" fmla="*/ 5711635 w 5711635"/>
              <a:gd name="connsiteY1" fmla="*/ 0 h 5143500"/>
              <a:gd name="connsiteX2" fmla="*/ 5711635 w 5711635"/>
              <a:gd name="connsiteY2" fmla="*/ 5143500 h 5143500"/>
              <a:gd name="connsiteX3" fmla="*/ 0 w 5711635"/>
              <a:gd name="connsiteY3" fmla="*/ 5142912 h 5143500"/>
              <a:gd name="connsiteX4" fmla="*/ 2967207 w 5711635"/>
              <a:gd name="connsiteY4" fmla="*/ 2381 h 5143500"/>
              <a:gd name="connsiteX0" fmla="*/ 2967207 w 5711635"/>
              <a:gd name="connsiteY0" fmla="*/ 0 h 5144087"/>
              <a:gd name="connsiteX1" fmla="*/ 5711635 w 5711635"/>
              <a:gd name="connsiteY1" fmla="*/ 587 h 5144087"/>
              <a:gd name="connsiteX2" fmla="*/ 5711635 w 5711635"/>
              <a:gd name="connsiteY2" fmla="*/ 5144087 h 5144087"/>
              <a:gd name="connsiteX3" fmla="*/ 0 w 5711635"/>
              <a:gd name="connsiteY3" fmla="*/ 5143499 h 5144087"/>
              <a:gd name="connsiteX4" fmla="*/ 2967207 w 5711635"/>
              <a:gd name="connsiteY4" fmla="*/ 0 h 5144087"/>
              <a:gd name="connsiteX0" fmla="*/ 2960063 w 5704491"/>
              <a:gd name="connsiteY0" fmla="*/ 0 h 5144087"/>
              <a:gd name="connsiteX1" fmla="*/ 5704491 w 5704491"/>
              <a:gd name="connsiteY1" fmla="*/ 587 h 5144087"/>
              <a:gd name="connsiteX2" fmla="*/ 5704491 w 5704491"/>
              <a:gd name="connsiteY2" fmla="*/ 5144087 h 5144087"/>
              <a:gd name="connsiteX3" fmla="*/ 0 w 5704491"/>
              <a:gd name="connsiteY3" fmla="*/ 5141118 h 5144087"/>
              <a:gd name="connsiteX4" fmla="*/ 2960063 w 5704491"/>
              <a:gd name="connsiteY4" fmla="*/ 0 h 5144087"/>
              <a:gd name="connsiteX0" fmla="*/ 2962444 w 5704491"/>
              <a:gd name="connsiteY0" fmla="*/ 1794 h 5143500"/>
              <a:gd name="connsiteX1" fmla="*/ 5704491 w 5704491"/>
              <a:gd name="connsiteY1" fmla="*/ 0 h 5143500"/>
              <a:gd name="connsiteX2" fmla="*/ 5704491 w 5704491"/>
              <a:gd name="connsiteY2" fmla="*/ 5143500 h 5143500"/>
              <a:gd name="connsiteX3" fmla="*/ 0 w 5704491"/>
              <a:gd name="connsiteY3" fmla="*/ 5140531 h 5143500"/>
              <a:gd name="connsiteX4" fmla="*/ 2962444 w 5704491"/>
              <a:gd name="connsiteY4" fmla="*/ 1794 h 5143500"/>
              <a:gd name="connsiteX0" fmla="*/ 2967207 w 5704491"/>
              <a:gd name="connsiteY0" fmla="*/ 0 h 5146469"/>
              <a:gd name="connsiteX1" fmla="*/ 5704491 w 5704491"/>
              <a:gd name="connsiteY1" fmla="*/ 2969 h 5146469"/>
              <a:gd name="connsiteX2" fmla="*/ 5704491 w 5704491"/>
              <a:gd name="connsiteY2" fmla="*/ 5146469 h 5146469"/>
              <a:gd name="connsiteX3" fmla="*/ 0 w 5704491"/>
              <a:gd name="connsiteY3" fmla="*/ 5143500 h 5146469"/>
              <a:gd name="connsiteX4" fmla="*/ 2967207 w 5704491"/>
              <a:gd name="connsiteY4" fmla="*/ 0 h 5146469"/>
              <a:gd name="connsiteX0" fmla="*/ 2969588 w 5706872"/>
              <a:gd name="connsiteY0" fmla="*/ 0 h 5146469"/>
              <a:gd name="connsiteX1" fmla="*/ 5706872 w 5706872"/>
              <a:gd name="connsiteY1" fmla="*/ 2969 h 5146469"/>
              <a:gd name="connsiteX2" fmla="*/ 5706872 w 5706872"/>
              <a:gd name="connsiteY2" fmla="*/ 5146469 h 5146469"/>
              <a:gd name="connsiteX3" fmla="*/ 0 w 5706872"/>
              <a:gd name="connsiteY3" fmla="*/ 5145882 h 5146469"/>
              <a:gd name="connsiteX4" fmla="*/ 2969588 w 5706872"/>
              <a:gd name="connsiteY4" fmla="*/ 0 h 5146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06872" h="5146469">
                <a:moveTo>
                  <a:pt x="2969588" y="0"/>
                </a:moveTo>
                <a:lnTo>
                  <a:pt x="5706872" y="2969"/>
                </a:lnTo>
                <a:lnTo>
                  <a:pt x="5706872" y="5146469"/>
                </a:lnTo>
                <a:lnTo>
                  <a:pt x="0" y="5145882"/>
                </a:lnTo>
                <a:lnTo>
                  <a:pt x="2969588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lIns="90000" tIns="46800" rIns="90000" bIns="46800" rtlCol="0">
            <a:noAutofit/>
          </a:bodyPr>
          <a:lstStyle>
            <a:lvl1pPr marL="239994" indent="-239994" algn="r">
              <a:buNone/>
              <a:defRPr lang="de-DE" dirty="0"/>
            </a:lvl1pPr>
          </a:lstStyle>
          <a:p>
            <a:pPr marL="0" lvl="0" indent="0"/>
            <a:r>
              <a:rPr lang="en-US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9" y="1460941"/>
            <a:ext cx="5832028" cy="1608019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9" y="3140969"/>
            <a:ext cx="5832028" cy="874044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1pPr>
            <a:lvl2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2pPr>
            <a:lvl3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3pPr>
            <a:lvl4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4pPr>
            <a:lvl5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5pPr>
            <a:lvl6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r>
              <a:rPr lang="en-US" noProof="0"/>
              <a:t>Click to edit Master subtitle</a:t>
            </a: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999E33FE-0F14-4B14-BD8D-CCA7AE8B70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408000" y="405000"/>
            <a:ext cx="2160000" cy="50902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692742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11">
            <a:extLst>
              <a:ext uri="{FF2B5EF4-FFF2-40B4-BE49-F238E27FC236}">
                <a16:creationId xmlns:a16="http://schemas.microsoft.com/office/drawing/2014/main" id="{0CCA83A6-ADB6-4FD3-8546-9A18C2D4DF26}"/>
              </a:ext>
            </a:extLst>
          </p:cNvPr>
          <p:cNvSpPr/>
          <p:nvPr/>
        </p:nvSpPr>
        <p:spPr bwMode="gray">
          <a:xfrm>
            <a:off x="0" y="0"/>
            <a:ext cx="12192000" cy="6309613"/>
          </a:xfrm>
          <a:prstGeom prst="rect">
            <a:avLst/>
          </a:prstGeom>
          <a:solidFill>
            <a:srgbClr val="7572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9" y="1629000"/>
            <a:ext cx="7200011" cy="1512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</a:t>
            </a:r>
            <a:r>
              <a:rPr lang="en-US" noProof="0" err="1"/>
              <a:t>titlE</a:t>
            </a:r>
            <a:endParaRPr lang="en-US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5BCA23B-AFB3-4B91-8CB9-C84FE5D584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Executive Summary</a:t>
            </a:r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9BB3E24-4476-46A5-8CFD-EF46BE9795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2B4178FD-43BF-4968-A299-3450DC0CDF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50CA8D7C-B784-4BCA-9D80-C3388554E119}"/>
              </a:ext>
            </a:extLst>
          </p:cNvPr>
          <p:cNvSpPr/>
          <p:nvPr/>
        </p:nvSpPr>
        <p:spPr bwMode="gray">
          <a:xfrm>
            <a:off x="7624055" y="1200987"/>
            <a:ext cx="2046995" cy="3427412"/>
          </a:xfrm>
          <a:prstGeom prst="parallelogram">
            <a:avLst>
              <a:gd name="adj" fmla="val 9714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18786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/>
        </p:nvSpPr>
        <p:spPr bwMode="gray">
          <a:xfrm>
            <a:off x="478366" y="6261315"/>
            <a:ext cx="11330268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/>
          </a:p>
        </p:txBody>
      </p:sp>
      <p:sp>
        <p:nvSpPr>
          <p:cNvPr id="9" name="object 3"/>
          <p:cNvSpPr/>
          <p:nvPr/>
        </p:nvSpPr>
        <p:spPr bwMode="gray">
          <a:xfrm>
            <a:off x="0" y="0"/>
            <a:ext cx="12192000" cy="6309613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8" y="1629000"/>
            <a:ext cx="6550376" cy="1512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</a:t>
            </a:r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902542" y="-1"/>
            <a:ext cx="7289458" cy="6309614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5093 w 10000"/>
              <a:gd name="connsiteY0" fmla="*/ 1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93 w 10000"/>
              <a:gd name="connsiteY4" fmla="*/ 11 h 10000"/>
              <a:gd name="connsiteX0" fmla="*/ 5084 w 10000"/>
              <a:gd name="connsiteY0" fmla="*/ 6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4 w 10000"/>
              <a:gd name="connsiteY4" fmla="*/ 6 h 10000"/>
              <a:gd name="connsiteX0" fmla="*/ 5172 w 10000"/>
              <a:gd name="connsiteY0" fmla="*/ 227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172 w 10000"/>
              <a:gd name="connsiteY4" fmla="*/ 227 h 10000"/>
              <a:gd name="connsiteX0" fmla="*/ 5080 w 10000"/>
              <a:gd name="connsiteY0" fmla="*/ 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0 w 10000"/>
              <a:gd name="connsiteY4" fmla="*/ 1 h 10000"/>
              <a:gd name="connsiteX0" fmla="*/ 4926 w 10000"/>
              <a:gd name="connsiteY0" fmla="*/ 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4926 w 10000"/>
              <a:gd name="connsiteY4" fmla="*/ 1 h 10000"/>
              <a:gd name="connsiteX0" fmla="*/ 4926 w 10000"/>
              <a:gd name="connsiteY0" fmla="*/ 6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4926 w 10000"/>
              <a:gd name="connsiteY4" fmla="*/ 6 h 10000"/>
              <a:gd name="connsiteX0" fmla="*/ 5040 w 10114"/>
              <a:gd name="connsiteY0" fmla="*/ 6 h 10000"/>
              <a:gd name="connsiteX1" fmla="*/ 10114 w 10114"/>
              <a:gd name="connsiteY1" fmla="*/ 0 h 10000"/>
              <a:gd name="connsiteX2" fmla="*/ 10114 w 10114"/>
              <a:gd name="connsiteY2" fmla="*/ 10000 h 10000"/>
              <a:gd name="connsiteX3" fmla="*/ 0 w 10114"/>
              <a:gd name="connsiteY3" fmla="*/ 9985 h 10000"/>
              <a:gd name="connsiteX4" fmla="*/ 5040 w 10114"/>
              <a:gd name="connsiteY4" fmla="*/ 6 h 10000"/>
              <a:gd name="connsiteX0" fmla="*/ 5044 w 10118"/>
              <a:gd name="connsiteY0" fmla="*/ 6 h 10000"/>
              <a:gd name="connsiteX1" fmla="*/ 10118 w 10118"/>
              <a:gd name="connsiteY1" fmla="*/ 0 h 10000"/>
              <a:gd name="connsiteX2" fmla="*/ 10118 w 10118"/>
              <a:gd name="connsiteY2" fmla="*/ 10000 h 10000"/>
              <a:gd name="connsiteX3" fmla="*/ 0 w 10118"/>
              <a:gd name="connsiteY3" fmla="*/ 9995 h 10000"/>
              <a:gd name="connsiteX4" fmla="*/ 5044 w 10118"/>
              <a:gd name="connsiteY4" fmla="*/ 6 h 10000"/>
              <a:gd name="connsiteX0" fmla="*/ 5048 w 10118"/>
              <a:gd name="connsiteY0" fmla="*/ 1 h 10000"/>
              <a:gd name="connsiteX1" fmla="*/ 10118 w 10118"/>
              <a:gd name="connsiteY1" fmla="*/ 0 h 10000"/>
              <a:gd name="connsiteX2" fmla="*/ 10118 w 10118"/>
              <a:gd name="connsiteY2" fmla="*/ 10000 h 10000"/>
              <a:gd name="connsiteX3" fmla="*/ 0 w 10118"/>
              <a:gd name="connsiteY3" fmla="*/ 9995 h 10000"/>
              <a:gd name="connsiteX4" fmla="*/ 5048 w 10118"/>
              <a:gd name="connsiteY4" fmla="*/ 1 h 10000"/>
              <a:gd name="connsiteX0" fmla="*/ 5030 w 10100"/>
              <a:gd name="connsiteY0" fmla="*/ 1 h 10000"/>
              <a:gd name="connsiteX1" fmla="*/ 10100 w 10100"/>
              <a:gd name="connsiteY1" fmla="*/ 0 h 10000"/>
              <a:gd name="connsiteX2" fmla="*/ 10100 w 10100"/>
              <a:gd name="connsiteY2" fmla="*/ 10000 h 10000"/>
              <a:gd name="connsiteX3" fmla="*/ 0 w 10100"/>
              <a:gd name="connsiteY3" fmla="*/ 9995 h 10000"/>
              <a:gd name="connsiteX4" fmla="*/ 5030 w 10100"/>
              <a:gd name="connsiteY4" fmla="*/ 1 h 10000"/>
              <a:gd name="connsiteX0" fmla="*/ 5039 w 10100"/>
              <a:gd name="connsiteY0" fmla="*/ 1 h 10000"/>
              <a:gd name="connsiteX1" fmla="*/ 10100 w 10100"/>
              <a:gd name="connsiteY1" fmla="*/ 0 h 10000"/>
              <a:gd name="connsiteX2" fmla="*/ 10100 w 10100"/>
              <a:gd name="connsiteY2" fmla="*/ 10000 h 10000"/>
              <a:gd name="connsiteX3" fmla="*/ 0 w 10100"/>
              <a:gd name="connsiteY3" fmla="*/ 9995 h 10000"/>
              <a:gd name="connsiteX4" fmla="*/ 5039 w 10100"/>
              <a:gd name="connsiteY4" fmla="*/ 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00" h="10000">
                <a:moveTo>
                  <a:pt x="5039" y="1"/>
                </a:moveTo>
                <a:lnTo>
                  <a:pt x="10100" y="0"/>
                </a:lnTo>
                <a:lnTo>
                  <a:pt x="10100" y="10000"/>
                </a:lnTo>
                <a:lnTo>
                  <a:pt x="0" y="9995"/>
                </a:lnTo>
                <a:lnTo>
                  <a:pt x="5039" y="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r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80DF7F2-096E-4B13-9431-9B0694BC09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Executive Summary</a:t>
            </a:r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FE725B2-8441-4840-A17A-C23B60A470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5458668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 bwMode="gray">
          <a:xfrm>
            <a:off x="0" y="0"/>
            <a:ext cx="12192000" cy="6309613"/>
          </a:xfrm>
          <a:prstGeom prst="rect">
            <a:avLst/>
          </a:prstGeom>
          <a:solidFill>
            <a:srgbClr val="7A7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8" y="1629000"/>
            <a:ext cx="6550376" cy="1512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</a:t>
            </a:r>
          </a:p>
        </p:txBody>
      </p:sp>
      <p:sp>
        <p:nvSpPr>
          <p:cNvPr id="22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902542" y="-1"/>
            <a:ext cx="7289458" cy="6309614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5093 w 10000"/>
              <a:gd name="connsiteY0" fmla="*/ 1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93 w 10000"/>
              <a:gd name="connsiteY4" fmla="*/ 11 h 10000"/>
              <a:gd name="connsiteX0" fmla="*/ 5084 w 10000"/>
              <a:gd name="connsiteY0" fmla="*/ 6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4 w 10000"/>
              <a:gd name="connsiteY4" fmla="*/ 6 h 10000"/>
              <a:gd name="connsiteX0" fmla="*/ 5172 w 10000"/>
              <a:gd name="connsiteY0" fmla="*/ 227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172 w 10000"/>
              <a:gd name="connsiteY4" fmla="*/ 227 h 10000"/>
              <a:gd name="connsiteX0" fmla="*/ 5080 w 10000"/>
              <a:gd name="connsiteY0" fmla="*/ 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0 w 10000"/>
              <a:gd name="connsiteY4" fmla="*/ 1 h 10000"/>
              <a:gd name="connsiteX0" fmla="*/ 4926 w 10000"/>
              <a:gd name="connsiteY0" fmla="*/ 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4926 w 10000"/>
              <a:gd name="connsiteY4" fmla="*/ 1 h 10000"/>
              <a:gd name="connsiteX0" fmla="*/ 4926 w 10000"/>
              <a:gd name="connsiteY0" fmla="*/ 6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4926 w 10000"/>
              <a:gd name="connsiteY4" fmla="*/ 6 h 10000"/>
              <a:gd name="connsiteX0" fmla="*/ 5040 w 10114"/>
              <a:gd name="connsiteY0" fmla="*/ 6 h 10000"/>
              <a:gd name="connsiteX1" fmla="*/ 10114 w 10114"/>
              <a:gd name="connsiteY1" fmla="*/ 0 h 10000"/>
              <a:gd name="connsiteX2" fmla="*/ 10114 w 10114"/>
              <a:gd name="connsiteY2" fmla="*/ 10000 h 10000"/>
              <a:gd name="connsiteX3" fmla="*/ 0 w 10114"/>
              <a:gd name="connsiteY3" fmla="*/ 9985 h 10000"/>
              <a:gd name="connsiteX4" fmla="*/ 5040 w 10114"/>
              <a:gd name="connsiteY4" fmla="*/ 6 h 10000"/>
              <a:gd name="connsiteX0" fmla="*/ 5044 w 10118"/>
              <a:gd name="connsiteY0" fmla="*/ 6 h 10000"/>
              <a:gd name="connsiteX1" fmla="*/ 10118 w 10118"/>
              <a:gd name="connsiteY1" fmla="*/ 0 h 10000"/>
              <a:gd name="connsiteX2" fmla="*/ 10118 w 10118"/>
              <a:gd name="connsiteY2" fmla="*/ 10000 h 10000"/>
              <a:gd name="connsiteX3" fmla="*/ 0 w 10118"/>
              <a:gd name="connsiteY3" fmla="*/ 9995 h 10000"/>
              <a:gd name="connsiteX4" fmla="*/ 5044 w 10118"/>
              <a:gd name="connsiteY4" fmla="*/ 6 h 10000"/>
              <a:gd name="connsiteX0" fmla="*/ 5048 w 10118"/>
              <a:gd name="connsiteY0" fmla="*/ 1 h 10000"/>
              <a:gd name="connsiteX1" fmla="*/ 10118 w 10118"/>
              <a:gd name="connsiteY1" fmla="*/ 0 h 10000"/>
              <a:gd name="connsiteX2" fmla="*/ 10118 w 10118"/>
              <a:gd name="connsiteY2" fmla="*/ 10000 h 10000"/>
              <a:gd name="connsiteX3" fmla="*/ 0 w 10118"/>
              <a:gd name="connsiteY3" fmla="*/ 9995 h 10000"/>
              <a:gd name="connsiteX4" fmla="*/ 5048 w 10118"/>
              <a:gd name="connsiteY4" fmla="*/ 1 h 10000"/>
              <a:gd name="connsiteX0" fmla="*/ 5057 w 10118"/>
              <a:gd name="connsiteY0" fmla="*/ 1 h 10000"/>
              <a:gd name="connsiteX1" fmla="*/ 10118 w 10118"/>
              <a:gd name="connsiteY1" fmla="*/ 0 h 10000"/>
              <a:gd name="connsiteX2" fmla="*/ 10118 w 10118"/>
              <a:gd name="connsiteY2" fmla="*/ 10000 h 10000"/>
              <a:gd name="connsiteX3" fmla="*/ 0 w 10118"/>
              <a:gd name="connsiteY3" fmla="*/ 9995 h 10000"/>
              <a:gd name="connsiteX4" fmla="*/ 5057 w 10118"/>
              <a:gd name="connsiteY4" fmla="*/ 1 h 10000"/>
              <a:gd name="connsiteX0" fmla="*/ 5039 w 10100"/>
              <a:gd name="connsiteY0" fmla="*/ 1 h 10000"/>
              <a:gd name="connsiteX1" fmla="*/ 10100 w 10100"/>
              <a:gd name="connsiteY1" fmla="*/ 0 h 10000"/>
              <a:gd name="connsiteX2" fmla="*/ 10100 w 10100"/>
              <a:gd name="connsiteY2" fmla="*/ 10000 h 10000"/>
              <a:gd name="connsiteX3" fmla="*/ 0 w 10100"/>
              <a:gd name="connsiteY3" fmla="*/ 9995 h 10000"/>
              <a:gd name="connsiteX4" fmla="*/ 5039 w 10100"/>
              <a:gd name="connsiteY4" fmla="*/ 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00" h="10000">
                <a:moveTo>
                  <a:pt x="5039" y="1"/>
                </a:moveTo>
                <a:lnTo>
                  <a:pt x="10100" y="0"/>
                </a:lnTo>
                <a:lnTo>
                  <a:pt x="10100" y="10000"/>
                </a:lnTo>
                <a:lnTo>
                  <a:pt x="0" y="9995"/>
                </a:lnTo>
                <a:lnTo>
                  <a:pt x="5039" y="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r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54D4A4C-BF2C-4284-80C4-56596FAE43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Executive Summary</a:t>
            </a:r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536BE8-6838-469C-9773-6E06E08835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745134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6261315"/>
            <a:ext cx="12192000" cy="96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309320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6B1551E3-8B68-44DA-8FE1-5A7E31F245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07988" y="4869000"/>
            <a:ext cx="5832475" cy="1152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865639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7367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4" progId="TCLayout.ActiveDocument.1">
                  <p:embed/>
                </p:oleObj>
              </mc:Choice>
              <mc:Fallback>
                <p:oleObj name="think-cell Slide" r:id="rId4" imgW="415" imgH="41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07989" y="1628775"/>
            <a:ext cx="5543550" cy="4392613"/>
          </a:xfrm>
        </p:spPr>
        <p:txBody>
          <a:bodyPr/>
          <a:lstStyle/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6240463" y="1628775"/>
            <a:ext cx="5543550" cy="4392613"/>
          </a:xfrm>
        </p:spPr>
        <p:txBody>
          <a:bodyPr/>
          <a:lstStyle/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D126B29-C846-43B1-AC4B-7D4F3BC67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099141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01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541C08-EA5F-42D5-87CD-20FE435F7B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34493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4" progId="TCLayout.ActiveDocument.1">
                  <p:embed/>
                </p:oleObj>
              </mc:Choice>
              <mc:Fallback>
                <p:oleObj name="think-cell Slide" r:id="rId4" imgW="415" imgH="41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07989" y="1628775"/>
            <a:ext cx="5543550" cy="4392613"/>
          </a:xfrm>
        </p:spPr>
        <p:txBody>
          <a:bodyPr/>
          <a:lstStyle/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6240463" y="1628775"/>
            <a:ext cx="5543550" cy="4392613"/>
          </a:xfrm>
        </p:spPr>
        <p:txBody>
          <a:bodyPr/>
          <a:lstStyle/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31E048E2-E35B-4C71-974C-B088F6A8C1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7988" y="837000"/>
            <a:ext cx="11376025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pPr lvl="0"/>
            <a:r>
              <a:rPr lang="en-US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58757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 bwMode="gray">
          <a:xfrm>
            <a:off x="8211670" y="0"/>
            <a:ext cx="3980329" cy="6858000"/>
          </a:xfrm>
          <a:custGeom>
            <a:avLst/>
            <a:gdLst>
              <a:gd name="connsiteX0" fmla="*/ 3629319 w 5724128"/>
              <a:gd name="connsiteY0" fmla="*/ 45244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3629319 w 5724128"/>
              <a:gd name="connsiteY4" fmla="*/ 45244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0 w 5724128"/>
              <a:gd name="connsiteY0" fmla="*/ 514350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4128" h="5143500">
                <a:moveTo>
                  <a:pt x="0" y="5143500"/>
                </a:moveTo>
                <a:lnTo>
                  <a:pt x="5724128" y="0"/>
                </a:lnTo>
                <a:lnTo>
                  <a:pt x="5724128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07989" y="1628775"/>
            <a:ext cx="5543550" cy="4392613"/>
          </a:xfrm>
        </p:spPr>
        <p:txBody>
          <a:bodyPr/>
          <a:lstStyle/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6240463" y="1628775"/>
            <a:ext cx="5543550" cy="4392613"/>
          </a:xfrm>
        </p:spPr>
        <p:txBody>
          <a:bodyPr/>
          <a:lstStyle/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F951C404-2EE1-4719-8C0B-8D87D0C9B76B}"/>
              </a:ext>
            </a:extLst>
          </p:cNvPr>
          <p:cNvSpPr>
            <a:spLocks noChangeAspect="1"/>
          </p:cNvSpPr>
          <p:nvPr/>
        </p:nvSpPr>
        <p:spPr bwMode="gray">
          <a:xfrm>
            <a:off x="11228917" y="6462248"/>
            <a:ext cx="127259" cy="216000"/>
          </a:xfrm>
          <a:custGeom>
            <a:avLst/>
            <a:gdLst>
              <a:gd name="T0" fmla="*/ 1544 w 1570"/>
              <a:gd name="T1" fmla="*/ 0 h 2675"/>
              <a:gd name="T2" fmla="*/ 1544 w 1570"/>
              <a:gd name="T3" fmla="*/ 0 h 2675"/>
              <a:gd name="T4" fmla="*/ 0 w 1570"/>
              <a:gd name="T5" fmla="*/ 2675 h 2675"/>
              <a:gd name="T6" fmla="*/ 26 w 1570"/>
              <a:gd name="T7" fmla="*/ 2675 h 2675"/>
              <a:gd name="T8" fmla="*/ 1570 w 1570"/>
              <a:gd name="T9" fmla="*/ 0 h 2675"/>
              <a:gd name="T10" fmla="*/ 1544 w 1570"/>
              <a:gd name="T11" fmla="*/ 0 h 26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570" h="2675">
                <a:moveTo>
                  <a:pt x="1544" y="0"/>
                </a:moveTo>
                <a:lnTo>
                  <a:pt x="1544" y="0"/>
                </a:lnTo>
                <a:lnTo>
                  <a:pt x="0" y="2675"/>
                </a:lnTo>
                <a:lnTo>
                  <a:pt x="26" y="2675"/>
                </a:lnTo>
                <a:lnTo>
                  <a:pt x="1570" y="0"/>
                </a:lnTo>
                <a:lnTo>
                  <a:pt x="1544" y="0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9CBB08E-8C39-4B2B-A19F-30AE5C7DFBE3}"/>
              </a:ext>
            </a:extLst>
          </p:cNvPr>
          <p:cNvSpPr/>
          <p:nvPr/>
        </p:nvSpPr>
        <p:spPr bwMode="gray">
          <a:xfrm>
            <a:off x="11288510" y="6430004"/>
            <a:ext cx="152079" cy="3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4292A3B-BF06-4AAA-A089-9A6DF130CC7F}"/>
              </a:ext>
            </a:extLst>
          </p:cNvPr>
          <p:cNvSpPr/>
          <p:nvPr/>
        </p:nvSpPr>
        <p:spPr bwMode="gray">
          <a:xfrm>
            <a:off x="11172124" y="6678007"/>
            <a:ext cx="152079" cy="3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CF7DCFA-1F35-4D6F-ABCB-C51F29742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3596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02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474EC7-8C98-493A-B3CA-50AFD693B4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  <p:sp>
        <p:nvSpPr>
          <p:cNvPr id="8" name="Rechteck 7"/>
          <p:cNvSpPr/>
          <p:nvPr/>
        </p:nvSpPr>
        <p:spPr bwMode="gray">
          <a:xfrm>
            <a:off x="8211670" y="0"/>
            <a:ext cx="3980329" cy="6858000"/>
          </a:xfrm>
          <a:custGeom>
            <a:avLst/>
            <a:gdLst>
              <a:gd name="connsiteX0" fmla="*/ 3629319 w 5724128"/>
              <a:gd name="connsiteY0" fmla="*/ 45244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3629319 w 5724128"/>
              <a:gd name="connsiteY4" fmla="*/ 45244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0 w 5724128"/>
              <a:gd name="connsiteY0" fmla="*/ 514350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4128" h="5143500">
                <a:moveTo>
                  <a:pt x="0" y="5143500"/>
                </a:moveTo>
                <a:lnTo>
                  <a:pt x="5724128" y="0"/>
                </a:lnTo>
                <a:lnTo>
                  <a:pt x="5724128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07989" y="1628775"/>
            <a:ext cx="5543550" cy="4392613"/>
          </a:xfrm>
        </p:spPr>
        <p:txBody>
          <a:bodyPr/>
          <a:lstStyle/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6240463" y="1628775"/>
            <a:ext cx="5543550" cy="4392613"/>
          </a:xfrm>
        </p:spPr>
        <p:txBody>
          <a:bodyPr/>
          <a:lstStyle/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F951C404-2EE1-4719-8C0B-8D87D0C9B76B}"/>
              </a:ext>
            </a:extLst>
          </p:cNvPr>
          <p:cNvSpPr>
            <a:spLocks noChangeAspect="1"/>
          </p:cNvSpPr>
          <p:nvPr/>
        </p:nvSpPr>
        <p:spPr bwMode="gray">
          <a:xfrm>
            <a:off x="11228917" y="6462248"/>
            <a:ext cx="127259" cy="216000"/>
          </a:xfrm>
          <a:custGeom>
            <a:avLst/>
            <a:gdLst>
              <a:gd name="T0" fmla="*/ 1544 w 1570"/>
              <a:gd name="T1" fmla="*/ 0 h 2675"/>
              <a:gd name="T2" fmla="*/ 1544 w 1570"/>
              <a:gd name="T3" fmla="*/ 0 h 2675"/>
              <a:gd name="T4" fmla="*/ 0 w 1570"/>
              <a:gd name="T5" fmla="*/ 2675 h 2675"/>
              <a:gd name="T6" fmla="*/ 26 w 1570"/>
              <a:gd name="T7" fmla="*/ 2675 h 2675"/>
              <a:gd name="T8" fmla="*/ 1570 w 1570"/>
              <a:gd name="T9" fmla="*/ 0 h 2675"/>
              <a:gd name="T10" fmla="*/ 1544 w 1570"/>
              <a:gd name="T11" fmla="*/ 0 h 26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570" h="2675">
                <a:moveTo>
                  <a:pt x="1544" y="0"/>
                </a:moveTo>
                <a:lnTo>
                  <a:pt x="1544" y="0"/>
                </a:lnTo>
                <a:lnTo>
                  <a:pt x="0" y="2675"/>
                </a:lnTo>
                <a:lnTo>
                  <a:pt x="26" y="2675"/>
                </a:lnTo>
                <a:lnTo>
                  <a:pt x="1570" y="0"/>
                </a:lnTo>
                <a:lnTo>
                  <a:pt x="1544" y="0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9CBB08E-8C39-4B2B-A19F-30AE5C7DFBE3}"/>
              </a:ext>
            </a:extLst>
          </p:cNvPr>
          <p:cNvSpPr/>
          <p:nvPr/>
        </p:nvSpPr>
        <p:spPr bwMode="gray">
          <a:xfrm>
            <a:off x="11288510" y="6430004"/>
            <a:ext cx="152079" cy="3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4292A3B-BF06-4AAA-A089-9A6DF130CC7F}"/>
              </a:ext>
            </a:extLst>
          </p:cNvPr>
          <p:cNvSpPr/>
          <p:nvPr/>
        </p:nvSpPr>
        <p:spPr bwMode="gray">
          <a:xfrm>
            <a:off x="11172124" y="6678007"/>
            <a:ext cx="152079" cy="3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8BC5EFAC-12F0-4529-959A-E93F85356B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7988" y="837000"/>
            <a:ext cx="11376024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pPr lvl="0"/>
            <a:r>
              <a:rPr lang="en-US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145715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8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6238925" y="1628775"/>
            <a:ext cx="5545088" cy="4392613"/>
          </a:xfrm>
        </p:spPr>
        <p:txBody>
          <a:bodyPr/>
          <a:lstStyle/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7989" y="1628775"/>
            <a:ext cx="5543550" cy="4392613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AD61A59-7175-417A-8103-364DF3BCAA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91756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01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112575AC-C263-45EA-BF85-8D42A85CE4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8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6238925" y="1628775"/>
            <a:ext cx="5545088" cy="4392613"/>
          </a:xfrm>
        </p:spPr>
        <p:txBody>
          <a:bodyPr/>
          <a:lstStyle/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7989" y="1628775"/>
            <a:ext cx="5543550" cy="4392613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9833A09-33B7-4FAA-82B0-938E5529CD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988" y="837000"/>
            <a:ext cx="11376025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pPr lvl="0"/>
            <a:r>
              <a:rPr lang="en-US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21063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9" y="1460941"/>
            <a:ext cx="5832028" cy="1608019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9" y="3140969"/>
            <a:ext cx="5832028" cy="874044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1pPr>
            <a:lvl2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2pPr>
            <a:lvl3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3pPr>
            <a:lvl4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4pPr>
            <a:lvl5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5pPr>
            <a:lvl6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r>
              <a:rPr lang="en-US" noProof="0"/>
              <a:t>Click to edit Master subtitle</a:t>
            </a:r>
          </a:p>
        </p:txBody>
      </p:sp>
      <p:sp>
        <p:nvSpPr>
          <p:cNvPr id="6" name="Rechteck 7"/>
          <p:cNvSpPr/>
          <p:nvPr/>
        </p:nvSpPr>
        <p:spPr bwMode="gray">
          <a:xfrm>
            <a:off x="4578879" y="0"/>
            <a:ext cx="7613122" cy="6861175"/>
          </a:xfrm>
          <a:custGeom>
            <a:avLst/>
            <a:gdLst>
              <a:gd name="connsiteX0" fmla="*/ 2979700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2979700 w 5724128"/>
              <a:gd name="connsiteY4" fmla="*/ 0 h 5143500"/>
              <a:gd name="connsiteX0" fmla="*/ 2970175 w 5714603"/>
              <a:gd name="connsiteY0" fmla="*/ 0 h 5143500"/>
              <a:gd name="connsiteX1" fmla="*/ 5714603 w 5714603"/>
              <a:gd name="connsiteY1" fmla="*/ 0 h 5143500"/>
              <a:gd name="connsiteX2" fmla="*/ 5714603 w 5714603"/>
              <a:gd name="connsiteY2" fmla="*/ 5143500 h 5143500"/>
              <a:gd name="connsiteX3" fmla="*/ 0 w 5714603"/>
              <a:gd name="connsiteY3" fmla="*/ 5143500 h 5143500"/>
              <a:gd name="connsiteX4" fmla="*/ 2970175 w 5714603"/>
              <a:gd name="connsiteY4" fmla="*/ 0 h 5143500"/>
              <a:gd name="connsiteX0" fmla="*/ 2974938 w 5714603"/>
              <a:gd name="connsiteY0" fmla="*/ 0 h 5145881"/>
              <a:gd name="connsiteX1" fmla="*/ 5714603 w 5714603"/>
              <a:gd name="connsiteY1" fmla="*/ 2381 h 5145881"/>
              <a:gd name="connsiteX2" fmla="*/ 5714603 w 5714603"/>
              <a:gd name="connsiteY2" fmla="*/ 5145881 h 5145881"/>
              <a:gd name="connsiteX3" fmla="*/ 0 w 5714603"/>
              <a:gd name="connsiteY3" fmla="*/ 5145881 h 5145881"/>
              <a:gd name="connsiteX4" fmla="*/ 2974938 w 5714603"/>
              <a:gd name="connsiteY4" fmla="*/ 0 h 5145881"/>
              <a:gd name="connsiteX0" fmla="*/ 2970176 w 5709841"/>
              <a:gd name="connsiteY0" fmla="*/ 0 h 5145881"/>
              <a:gd name="connsiteX1" fmla="*/ 5709841 w 5709841"/>
              <a:gd name="connsiteY1" fmla="*/ 2381 h 5145881"/>
              <a:gd name="connsiteX2" fmla="*/ 5709841 w 5709841"/>
              <a:gd name="connsiteY2" fmla="*/ 5145881 h 5145881"/>
              <a:gd name="connsiteX3" fmla="*/ 0 w 5709841"/>
              <a:gd name="connsiteY3" fmla="*/ 5145881 h 5145881"/>
              <a:gd name="connsiteX4" fmla="*/ 2970176 w 5709841"/>
              <a:gd name="connsiteY4" fmla="*/ 0 h 5145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09841" h="5145881">
                <a:moveTo>
                  <a:pt x="2970176" y="0"/>
                </a:moveTo>
                <a:lnTo>
                  <a:pt x="5709841" y="2381"/>
                </a:lnTo>
                <a:lnTo>
                  <a:pt x="5709841" y="5145881"/>
                </a:lnTo>
                <a:lnTo>
                  <a:pt x="0" y="5145881"/>
                </a:lnTo>
                <a:lnTo>
                  <a:pt x="297017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1905B45A-70DB-4C10-B573-E9DA01805A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408000" y="405000"/>
            <a:ext cx="2160000" cy="50902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2446001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8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407988" y="1628776"/>
            <a:ext cx="5544079" cy="4392512"/>
          </a:xfrm>
        </p:spPr>
        <p:txBody>
          <a:bodyPr/>
          <a:lstStyle/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239933" y="1628775"/>
            <a:ext cx="5544080" cy="4393142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27BA416-5A0A-48B4-B45A-D2DAE88409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807661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02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70086125-979D-499E-81D8-08D8B5D92D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8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407988" y="1628776"/>
            <a:ext cx="5544079" cy="4392512"/>
          </a:xfrm>
        </p:spPr>
        <p:txBody>
          <a:bodyPr/>
          <a:lstStyle/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239933" y="1628775"/>
            <a:ext cx="5544080" cy="4393142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459CFB86-D233-4557-9757-2D198A8679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988" y="837000"/>
            <a:ext cx="11376025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>
                <a:solidFill>
                  <a:srgbClr val="671C3E"/>
                </a:solidFill>
              </a:defRPr>
            </a:lvl9pPr>
          </a:lstStyle>
          <a:p>
            <a:pPr lvl="0"/>
            <a:r>
              <a:rPr lang="en-US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154974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407988" y="1628776"/>
            <a:ext cx="5544079" cy="4392512"/>
          </a:xfrm>
        </p:spPr>
        <p:txBody>
          <a:bodyPr/>
          <a:lstStyle/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239932" y="0"/>
            <a:ext cx="5952067" cy="6858000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D5264FE-F7AB-4E8D-B3F2-7D99C929BD7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1632001" y="6469556"/>
            <a:ext cx="4319537" cy="187694"/>
          </a:xfrm>
        </p:spPr>
        <p:txBody>
          <a:bodyPr/>
          <a:lstStyle/>
          <a:p>
            <a:r>
              <a:rPr lang="en-US"/>
              <a:t>Executive Summary</a:t>
            </a:r>
            <a:endParaRPr lang="en-US" noProof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A2F5C3F-6D20-46B0-BD89-C7C139E610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989" y="333000"/>
            <a:ext cx="5543550" cy="792538"/>
          </a:xfrm>
        </p:spPr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205681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03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731BB0C8-D9EA-4166-BBD0-94E7397A23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989" y="333000"/>
            <a:ext cx="5543550" cy="792538"/>
          </a:xfrm>
        </p:spPr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  <p:sp>
        <p:nvSpPr>
          <p:cNvPr id="8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407988" y="1628776"/>
            <a:ext cx="5544079" cy="4392512"/>
          </a:xfrm>
        </p:spPr>
        <p:txBody>
          <a:bodyPr/>
          <a:lstStyle/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239932" y="0"/>
            <a:ext cx="5952067" cy="6858000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9D3C237-2C79-4DC0-B6B9-5CC28B24BE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989" y="837000"/>
            <a:ext cx="5543549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5FC07B4-E245-49BB-844A-9906670A787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>
          <a:xfrm>
            <a:off x="1632001" y="6469556"/>
            <a:ext cx="4319537" cy="187694"/>
          </a:xfrm>
        </p:spPr>
        <p:txBody>
          <a:bodyPr/>
          <a:lstStyle/>
          <a:p>
            <a:r>
              <a:rPr lang="en-US"/>
              <a:t>Executive Summary</a:t>
            </a:r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3417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4221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4" progId="TCLayout.ActiveDocument.1">
                  <p:embed/>
                </p:oleObj>
              </mc:Choice>
              <mc:Fallback>
                <p:oleObj name="think-cell Slide" r:id="rId4" imgW="415" imgH="41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40463" y="1628775"/>
            <a:ext cx="5543550" cy="2856442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8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407988" y="4677139"/>
            <a:ext cx="5544079" cy="1344149"/>
          </a:xfrm>
        </p:spPr>
        <p:txBody>
          <a:bodyPr/>
          <a:lstStyle>
            <a:lvl1pPr>
              <a:lnSpc>
                <a:spcPct val="107000"/>
              </a:lnSpc>
              <a:spcBef>
                <a:spcPts val="1000"/>
              </a:spcBef>
              <a:defRPr sz="1400"/>
            </a:lvl1pPr>
            <a:lvl2pPr>
              <a:lnSpc>
                <a:spcPct val="107000"/>
              </a:lnSpc>
              <a:spcBef>
                <a:spcPts val="1000"/>
              </a:spcBef>
              <a:defRPr sz="1400"/>
            </a:lvl2pPr>
            <a:lvl3pPr>
              <a:lnSpc>
                <a:spcPct val="107000"/>
              </a:lnSpc>
              <a:spcBef>
                <a:spcPts val="1000"/>
              </a:spcBef>
              <a:defRPr sz="1400"/>
            </a:lvl3pPr>
            <a:lvl4pPr>
              <a:lnSpc>
                <a:spcPct val="107000"/>
              </a:lnSpc>
              <a:spcBef>
                <a:spcPts val="1000"/>
              </a:spcBef>
              <a:defRPr sz="1400"/>
            </a:lvl4pPr>
            <a:lvl5pPr>
              <a:lnSpc>
                <a:spcPct val="107000"/>
              </a:lnSpc>
              <a:spcBef>
                <a:spcPts val="1000"/>
              </a:spcBef>
              <a:defRPr sz="1400"/>
            </a:lvl5pPr>
            <a:lvl6pPr>
              <a:lnSpc>
                <a:spcPct val="107000"/>
              </a:lnSpc>
              <a:spcBef>
                <a:spcPts val="1000"/>
              </a:spcBef>
              <a:defRPr sz="1400"/>
            </a:lvl6pPr>
            <a:lvl7pPr>
              <a:lnSpc>
                <a:spcPct val="107000"/>
              </a:lnSpc>
              <a:spcBef>
                <a:spcPts val="1000"/>
              </a:spcBef>
              <a:defRPr sz="1400"/>
            </a:lvl7pPr>
            <a:lvl8pPr>
              <a:lnSpc>
                <a:spcPct val="107000"/>
              </a:lnSpc>
              <a:spcBef>
                <a:spcPts val="1000"/>
              </a:spcBef>
              <a:defRPr sz="1400"/>
            </a:lvl8pPr>
            <a:lvl9pPr>
              <a:lnSpc>
                <a:spcPct val="107000"/>
              </a:lnSpc>
              <a:spcBef>
                <a:spcPts val="1000"/>
              </a:spcBef>
              <a:defRPr sz="1400"/>
            </a:lvl9pPr>
          </a:lstStyle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7989" y="1628775"/>
            <a:ext cx="5543550" cy="2856441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6" hasCustomPrompt="1"/>
          </p:nvPr>
        </p:nvSpPr>
        <p:spPr bwMode="gray">
          <a:xfrm>
            <a:off x="6238925" y="4677139"/>
            <a:ext cx="5545088" cy="1344149"/>
          </a:xfrm>
        </p:spPr>
        <p:txBody>
          <a:bodyPr/>
          <a:lstStyle>
            <a:lvl1pPr>
              <a:lnSpc>
                <a:spcPct val="107000"/>
              </a:lnSpc>
              <a:spcBef>
                <a:spcPts val="1000"/>
              </a:spcBef>
              <a:defRPr sz="1400"/>
            </a:lvl1pPr>
            <a:lvl2pPr>
              <a:lnSpc>
                <a:spcPct val="107000"/>
              </a:lnSpc>
              <a:spcBef>
                <a:spcPts val="1000"/>
              </a:spcBef>
              <a:defRPr sz="1400"/>
            </a:lvl2pPr>
            <a:lvl3pPr>
              <a:lnSpc>
                <a:spcPct val="107000"/>
              </a:lnSpc>
              <a:spcBef>
                <a:spcPts val="1000"/>
              </a:spcBef>
              <a:defRPr sz="1400"/>
            </a:lvl3pPr>
            <a:lvl4pPr>
              <a:lnSpc>
                <a:spcPct val="107000"/>
              </a:lnSpc>
              <a:spcBef>
                <a:spcPts val="1000"/>
              </a:spcBef>
              <a:defRPr sz="1400"/>
            </a:lvl4pPr>
            <a:lvl5pPr>
              <a:lnSpc>
                <a:spcPct val="107000"/>
              </a:lnSpc>
              <a:spcBef>
                <a:spcPts val="1000"/>
              </a:spcBef>
              <a:defRPr sz="1400"/>
            </a:lvl5pPr>
            <a:lvl6pPr>
              <a:lnSpc>
                <a:spcPct val="107000"/>
              </a:lnSpc>
              <a:spcBef>
                <a:spcPts val="1000"/>
              </a:spcBef>
              <a:defRPr sz="1400"/>
            </a:lvl6pPr>
            <a:lvl7pPr>
              <a:lnSpc>
                <a:spcPct val="107000"/>
              </a:lnSpc>
              <a:spcBef>
                <a:spcPts val="1000"/>
              </a:spcBef>
              <a:defRPr sz="1400"/>
            </a:lvl7pPr>
            <a:lvl8pPr>
              <a:lnSpc>
                <a:spcPct val="107000"/>
              </a:lnSpc>
              <a:spcBef>
                <a:spcPts val="1000"/>
              </a:spcBef>
              <a:defRPr sz="1400"/>
            </a:lvl8pPr>
            <a:lvl9pPr>
              <a:lnSpc>
                <a:spcPct val="107000"/>
              </a:lnSpc>
              <a:spcBef>
                <a:spcPts val="1000"/>
              </a:spcBef>
              <a:defRPr sz="1400"/>
            </a:lvl9pPr>
          </a:lstStyle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491CF39-B8ED-4BF3-82A5-BA7B1309FA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15527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04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0B87612-22C7-4A9C-9C48-4A5B12F2BE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41763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4" progId="TCLayout.ActiveDocument.1">
                  <p:embed/>
                </p:oleObj>
              </mc:Choice>
              <mc:Fallback>
                <p:oleObj name="think-cell Slide" r:id="rId4" imgW="415" imgH="41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40463" y="1628775"/>
            <a:ext cx="5543550" cy="2856442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8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407988" y="4677139"/>
            <a:ext cx="5544079" cy="1344149"/>
          </a:xfrm>
        </p:spPr>
        <p:txBody>
          <a:bodyPr/>
          <a:lstStyle>
            <a:lvl1pPr>
              <a:lnSpc>
                <a:spcPct val="107000"/>
              </a:lnSpc>
              <a:spcBef>
                <a:spcPts val="1000"/>
              </a:spcBef>
              <a:defRPr sz="1400"/>
            </a:lvl1pPr>
            <a:lvl2pPr>
              <a:lnSpc>
                <a:spcPct val="107000"/>
              </a:lnSpc>
              <a:spcBef>
                <a:spcPts val="1000"/>
              </a:spcBef>
              <a:defRPr sz="1400"/>
            </a:lvl2pPr>
            <a:lvl3pPr>
              <a:lnSpc>
                <a:spcPct val="107000"/>
              </a:lnSpc>
              <a:spcBef>
                <a:spcPts val="1000"/>
              </a:spcBef>
              <a:defRPr sz="1400"/>
            </a:lvl3pPr>
            <a:lvl4pPr>
              <a:lnSpc>
                <a:spcPct val="107000"/>
              </a:lnSpc>
              <a:spcBef>
                <a:spcPts val="1000"/>
              </a:spcBef>
              <a:defRPr sz="1400"/>
            </a:lvl4pPr>
            <a:lvl5pPr>
              <a:lnSpc>
                <a:spcPct val="107000"/>
              </a:lnSpc>
              <a:spcBef>
                <a:spcPts val="1000"/>
              </a:spcBef>
              <a:defRPr sz="1400"/>
            </a:lvl5pPr>
            <a:lvl6pPr>
              <a:lnSpc>
                <a:spcPct val="107000"/>
              </a:lnSpc>
              <a:spcBef>
                <a:spcPts val="1000"/>
              </a:spcBef>
              <a:defRPr sz="1400"/>
            </a:lvl6pPr>
            <a:lvl7pPr>
              <a:lnSpc>
                <a:spcPct val="107000"/>
              </a:lnSpc>
              <a:spcBef>
                <a:spcPts val="1000"/>
              </a:spcBef>
              <a:defRPr sz="1400"/>
            </a:lvl7pPr>
            <a:lvl8pPr>
              <a:lnSpc>
                <a:spcPct val="107000"/>
              </a:lnSpc>
              <a:spcBef>
                <a:spcPts val="1000"/>
              </a:spcBef>
              <a:defRPr sz="1400"/>
            </a:lvl8pPr>
            <a:lvl9pPr>
              <a:lnSpc>
                <a:spcPct val="107000"/>
              </a:lnSpc>
              <a:spcBef>
                <a:spcPts val="1000"/>
              </a:spcBef>
              <a:defRPr sz="1400"/>
            </a:lvl9pPr>
          </a:lstStyle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7989" y="1628775"/>
            <a:ext cx="5543550" cy="2856441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6" hasCustomPrompt="1"/>
          </p:nvPr>
        </p:nvSpPr>
        <p:spPr bwMode="gray">
          <a:xfrm>
            <a:off x="6238925" y="4677139"/>
            <a:ext cx="5545088" cy="1344149"/>
          </a:xfrm>
        </p:spPr>
        <p:txBody>
          <a:bodyPr/>
          <a:lstStyle>
            <a:lvl1pPr>
              <a:lnSpc>
                <a:spcPct val="107000"/>
              </a:lnSpc>
              <a:spcBef>
                <a:spcPts val="1000"/>
              </a:spcBef>
              <a:defRPr sz="1400"/>
            </a:lvl1pPr>
            <a:lvl2pPr>
              <a:lnSpc>
                <a:spcPct val="107000"/>
              </a:lnSpc>
              <a:spcBef>
                <a:spcPts val="1000"/>
              </a:spcBef>
              <a:defRPr sz="1400"/>
            </a:lvl2pPr>
            <a:lvl3pPr>
              <a:lnSpc>
                <a:spcPct val="107000"/>
              </a:lnSpc>
              <a:spcBef>
                <a:spcPts val="1000"/>
              </a:spcBef>
              <a:defRPr sz="1400"/>
            </a:lvl3pPr>
            <a:lvl4pPr>
              <a:lnSpc>
                <a:spcPct val="107000"/>
              </a:lnSpc>
              <a:spcBef>
                <a:spcPts val="1000"/>
              </a:spcBef>
              <a:defRPr sz="1400"/>
            </a:lvl4pPr>
            <a:lvl5pPr>
              <a:lnSpc>
                <a:spcPct val="107000"/>
              </a:lnSpc>
              <a:spcBef>
                <a:spcPts val="1000"/>
              </a:spcBef>
              <a:defRPr sz="1400"/>
            </a:lvl5pPr>
            <a:lvl6pPr>
              <a:lnSpc>
                <a:spcPct val="107000"/>
              </a:lnSpc>
              <a:spcBef>
                <a:spcPts val="1000"/>
              </a:spcBef>
              <a:defRPr sz="1400"/>
            </a:lvl6pPr>
            <a:lvl7pPr>
              <a:lnSpc>
                <a:spcPct val="107000"/>
              </a:lnSpc>
              <a:spcBef>
                <a:spcPts val="1000"/>
              </a:spcBef>
              <a:defRPr sz="1400"/>
            </a:lvl7pPr>
            <a:lvl8pPr>
              <a:lnSpc>
                <a:spcPct val="107000"/>
              </a:lnSpc>
              <a:spcBef>
                <a:spcPts val="1000"/>
              </a:spcBef>
              <a:defRPr sz="1400"/>
            </a:lvl8pPr>
            <a:lvl9pPr>
              <a:lnSpc>
                <a:spcPct val="107000"/>
              </a:lnSpc>
              <a:spcBef>
                <a:spcPts val="1000"/>
              </a:spcBef>
              <a:defRPr sz="1400"/>
            </a:lvl9pPr>
          </a:lstStyle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9A1E1EF4-E377-4058-97EC-1B73C90296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07988" y="837000"/>
            <a:ext cx="11376025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pPr lvl="0"/>
            <a:r>
              <a:rPr lang="en-US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707210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95775" y="1628776"/>
            <a:ext cx="3600449" cy="2328598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8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407988" y="4181795"/>
            <a:ext cx="3600451" cy="1840123"/>
          </a:xfrm>
        </p:spPr>
        <p:txBody>
          <a:bodyPr/>
          <a:lstStyle>
            <a:lvl1pPr>
              <a:lnSpc>
                <a:spcPct val="107000"/>
              </a:lnSpc>
              <a:spcBef>
                <a:spcPts val="1000"/>
              </a:spcBef>
              <a:defRPr sz="1400"/>
            </a:lvl1pPr>
            <a:lvl2pPr>
              <a:lnSpc>
                <a:spcPct val="107000"/>
              </a:lnSpc>
              <a:spcBef>
                <a:spcPts val="1000"/>
              </a:spcBef>
              <a:defRPr sz="1400"/>
            </a:lvl2pPr>
            <a:lvl3pPr>
              <a:lnSpc>
                <a:spcPct val="107000"/>
              </a:lnSpc>
              <a:spcBef>
                <a:spcPts val="1000"/>
              </a:spcBef>
              <a:defRPr sz="1400"/>
            </a:lvl3pPr>
            <a:lvl4pPr>
              <a:lnSpc>
                <a:spcPct val="107000"/>
              </a:lnSpc>
              <a:spcBef>
                <a:spcPts val="1000"/>
              </a:spcBef>
              <a:defRPr sz="1400"/>
            </a:lvl4pPr>
            <a:lvl5pPr>
              <a:lnSpc>
                <a:spcPct val="107000"/>
              </a:lnSpc>
              <a:spcBef>
                <a:spcPts val="1000"/>
              </a:spcBef>
              <a:defRPr sz="1400"/>
            </a:lvl5pPr>
            <a:lvl6pPr>
              <a:lnSpc>
                <a:spcPct val="107000"/>
              </a:lnSpc>
              <a:spcBef>
                <a:spcPts val="1000"/>
              </a:spcBef>
              <a:defRPr sz="1400"/>
            </a:lvl6pPr>
            <a:lvl7pPr>
              <a:lnSpc>
                <a:spcPct val="107000"/>
              </a:lnSpc>
              <a:spcBef>
                <a:spcPts val="1000"/>
              </a:spcBef>
              <a:defRPr sz="1400"/>
            </a:lvl7pPr>
            <a:lvl8pPr>
              <a:lnSpc>
                <a:spcPct val="107000"/>
              </a:lnSpc>
              <a:spcBef>
                <a:spcPts val="1000"/>
              </a:spcBef>
              <a:defRPr sz="1400"/>
            </a:lvl8pPr>
            <a:lvl9pPr>
              <a:lnSpc>
                <a:spcPct val="107000"/>
              </a:lnSpc>
              <a:spcBef>
                <a:spcPts val="1000"/>
              </a:spcBef>
              <a:defRPr sz="1400"/>
            </a:lvl9pPr>
          </a:lstStyle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7989" y="1628775"/>
            <a:ext cx="3600450" cy="2328597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6" hasCustomPrompt="1"/>
          </p:nvPr>
        </p:nvSpPr>
        <p:spPr bwMode="gray">
          <a:xfrm>
            <a:off x="4295776" y="4181795"/>
            <a:ext cx="3600450" cy="1840123"/>
          </a:xfrm>
        </p:spPr>
        <p:txBody>
          <a:bodyPr/>
          <a:lstStyle>
            <a:lvl1pPr>
              <a:lnSpc>
                <a:spcPct val="107000"/>
              </a:lnSpc>
              <a:spcBef>
                <a:spcPts val="1000"/>
              </a:spcBef>
              <a:defRPr sz="1400"/>
            </a:lvl1pPr>
            <a:lvl2pPr>
              <a:lnSpc>
                <a:spcPct val="107000"/>
              </a:lnSpc>
              <a:spcBef>
                <a:spcPts val="1000"/>
              </a:spcBef>
              <a:defRPr sz="1400"/>
            </a:lvl2pPr>
            <a:lvl3pPr>
              <a:lnSpc>
                <a:spcPct val="107000"/>
              </a:lnSpc>
              <a:spcBef>
                <a:spcPts val="1000"/>
              </a:spcBef>
              <a:defRPr sz="1400"/>
            </a:lvl3pPr>
            <a:lvl4pPr>
              <a:lnSpc>
                <a:spcPct val="107000"/>
              </a:lnSpc>
              <a:spcBef>
                <a:spcPts val="1000"/>
              </a:spcBef>
              <a:defRPr sz="1400"/>
            </a:lvl4pPr>
            <a:lvl5pPr>
              <a:lnSpc>
                <a:spcPct val="107000"/>
              </a:lnSpc>
              <a:spcBef>
                <a:spcPts val="1000"/>
              </a:spcBef>
              <a:defRPr sz="1400"/>
            </a:lvl5pPr>
            <a:lvl6pPr>
              <a:lnSpc>
                <a:spcPct val="107000"/>
              </a:lnSpc>
              <a:spcBef>
                <a:spcPts val="1000"/>
              </a:spcBef>
              <a:defRPr sz="1400"/>
            </a:lvl6pPr>
            <a:lvl7pPr>
              <a:lnSpc>
                <a:spcPct val="107000"/>
              </a:lnSpc>
              <a:spcBef>
                <a:spcPts val="1000"/>
              </a:spcBef>
              <a:defRPr sz="1400"/>
            </a:lvl7pPr>
            <a:lvl8pPr>
              <a:lnSpc>
                <a:spcPct val="107000"/>
              </a:lnSpc>
              <a:spcBef>
                <a:spcPts val="1000"/>
              </a:spcBef>
              <a:defRPr sz="1400"/>
            </a:lvl8pPr>
            <a:lvl9pPr>
              <a:lnSpc>
                <a:spcPct val="107000"/>
              </a:lnSpc>
              <a:spcBef>
                <a:spcPts val="1000"/>
              </a:spcBef>
              <a:defRPr sz="1400"/>
            </a:lvl9pPr>
          </a:lstStyle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183563" y="1628775"/>
            <a:ext cx="3600450" cy="2328285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8" hasCustomPrompt="1"/>
          </p:nvPr>
        </p:nvSpPr>
        <p:spPr bwMode="gray">
          <a:xfrm>
            <a:off x="8183563" y="4181795"/>
            <a:ext cx="3600450" cy="1840123"/>
          </a:xfrm>
        </p:spPr>
        <p:txBody>
          <a:bodyPr/>
          <a:lstStyle>
            <a:lvl1pPr>
              <a:lnSpc>
                <a:spcPct val="107000"/>
              </a:lnSpc>
              <a:spcBef>
                <a:spcPts val="1000"/>
              </a:spcBef>
              <a:defRPr sz="1400"/>
            </a:lvl1pPr>
            <a:lvl2pPr>
              <a:lnSpc>
                <a:spcPct val="107000"/>
              </a:lnSpc>
              <a:spcBef>
                <a:spcPts val="1000"/>
              </a:spcBef>
              <a:defRPr sz="1400"/>
            </a:lvl2pPr>
            <a:lvl3pPr>
              <a:lnSpc>
                <a:spcPct val="107000"/>
              </a:lnSpc>
              <a:spcBef>
                <a:spcPts val="1000"/>
              </a:spcBef>
              <a:defRPr sz="1400"/>
            </a:lvl3pPr>
            <a:lvl4pPr>
              <a:lnSpc>
                <a:spcPct val="107000"/>
              </a:lnSpc>
              <a:spcBef>
                <a:spcPts val="1000"/>
              </a:spcBef>
              <a:defRPr sz="1400"/>
            </a:lvl4pPr>
            <a:lvl5pPr>
              <a:lnSpc>
                <a:spcPct val="107000"/>
              </a:lnSpc>
              <a:spcBef>
                <a:spcPts val="1000"/>
              </a:spcBef>
              <a:defRPr sz="1400"/>
            </a:lvl5pPr>
            <a:lvl6pPr>
              <a:lnSpc>
                <a:spcPct val="107000"/>
              </a:lnSpc>
              <a:spcBef>
                <a:spcPts val="1000"/>
              </a:spcBef>
              <a:defRPr sz="1400"/>
            </a:lvl6pPr>
            <a:lvl7pPr>
              <a:lnSpc>
                <a:spcPct val="107000"/>
              </a:lnSpc>
              <a:spcBef>
                <a:spcPts val="1000"/>
              </a:spcBef>
              <a:defRPr sz="1400"/>
            </a:lvl7pPr>
            <a:lvl8pPr>
              <a:lnSpc>
                <a:spcPct val="107000"/>
              </a:lnSpc>
              <a:spcBef>
                <a:spcPts val="1000"/>
              </a:spcBef>
              <a:defRPr sz="1400"/>
            </a:lvl8pPr>
            <a:lvl9pPr>
              <a:lnSpc>
                <a:spcPct val="107000"/>
              </a:lnSpc>
              <a:spcBef>
                <a:spcPts val="1000"/>
              </a:spcBef>
              <a:defRPr sz="1400"/>
            </a:lvl9pPr>
          </a:lstStyle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CEF4571-7353-41CF-981E-E2D5E5B3A7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1392817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05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C7E431E-BD72-442D-9191-CD0AEB72C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95775" y="1628776"/>
            <a:ext cx="3600449" cy="2328598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8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407989" y="4181795"/>
            <a:ext cx="3600450" cy="1840123"/>
          </a:xfrm>
        </p:spPr>
        <p:txBody>
          <a:bodyPr/>
          <a:lstStyle>
            <a:lvl1pPr>
              <a:lnSpc>
                <a:spcPct val="107000"/>
              </a:lnSpc>
              <a:spcBef>
                <a:spcPts val="1000"/>
              </a:spcBef>
              <a:defRPr sz="1400"/>
            </a:lvl1pPr>
            <a:lvl2pPr>
              <a:lnSpc>
                <a:spcPct val="107000"/>
              </a:lnSpc>
              <a:spcBef>
                <a:spcPts val="1000"/>
              </a:spcBef>
              <a:defRPr sz="1400"/>
            </a:lvl2pPr>
            <a:lvl3pPr>
              <a:lnSpc>
                <a:spcPct val="107000"/>
              </a:lnSpc>
              <a:spcBef>
                <a:spcPts val="1000"/>
              </a:spcBef>
              <a:defRPr sz="1400"/>
            </a:lvl3pPr>
            <a:lvl4pPr>
              <a:lnSpc>
                <a:spcPct val="107000"/>
              </a:lnSpc>
              <a:spcBef>
                <a:spcPts val="1000"/>
              </a:spcBef>
              <a:defRPr sz="1400"/>
            </a:lvl4pPr>
            <a:lvl5pPr>
              <a:lnSpc>
                <a:spcPct val="107000"/>
              </a:lnSpc>
              <a:spcBef>
                <a:spcPts val="1000"/>
              </a:spcBef>
              <a:defRPr sz="1400"/>
            </a:lvl5pPr>
            <a:lvl6pPr>
              <a:lnSpc>
                <a:spcPct val="107000"/>
              </a:lnSpc>
              <a:spcBef>
                <a:spcPts val="1000"/>
              </a:spcBef>
              <a:defRPr sz="1400"/>
            </a:lvl6pPr>
            <a:lvl7pPr>
              <a:lnSpc>
                <a:spcPct val="107000"/>
              </a:lnSpc>
              <a:spcBef>
                <a:spcPts val="1000"/>
              </a:spcBef>
              <a:defRPr sz="1400"/>
            </a:lvl7pPr>
            <a:lvl8pPr>
              <a:lnSpc>
                <a:spcPct val="107000"/>
              </a:lnSpc>
              <a:spcBef>
                <a:spcPts val="1000"/>
              </a:spcBef>
              <a:defRPr sz="1400"/>
            </a:lvl8pPr>
            <a:lvl9pPr>
              <a:lnSpc>
                <a:spcPct val="107000"/>
              </a:lnSpc>
              <a:spcBef>
                <a:spcPts val="1000"/>
              </a:spcBef>
              <a:defRPr sz="1400"/>
            </a:lvl9pPr>
          </a:lstStyle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7989" y="1628775"/>
            <a:ext cx="3600450" cy="2328597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6" hasCustomPrompt="1"/>
          </p:nvPr>
        </p:nvSpPr>
        <p:spPr bwMode="gray">
          <a:xfrm>
            <a:off x="4295775" y="4181795"/>
            <a:ext cx="3600450" cy="1840123"/>
          </a:xfrm>
        </p:spPr>
        <p:txBody>
          <a:bodyPr/>
          <a:lstStyle>
            <a:lvl1pPr>
              <a:lnSpc>
                <a:spcPct val="107000"/>
              </a:lnSpc>
              <a:spcBef>
                <a:spcPts val="1000"/>
              </a:spcBef>
              <a:defRPr sz="1400"/>
            </a:lvl1pPr>
            <a:lvl2pPr>
              <a:lnSpc>
                <a:spcPct val="107000"/>
              </a:lnSpc>
              <a:spcBef>
                <a:spcPts val="1000"/>
              </a:spcBef>
              <a:defRPr sz="1400"/>
            </a:lvl2pPr>
            <a:lvl3pPr>
              <a:lnSpc>
                <a:spcPct val="107000"/>
              </a:lnSpc>
              <a:spcBef>
                <a:spcPts val="1000"/>
              </a:spcBef>
              <a:defRPr sz="1400"/>
            </a:lvl3pPr>
            <a:lvl4pPr>
              <a:lnSpc>
                <a:spcPct val="107000"/>
              </a:lnSpc>
              <a:spcBef>
                <a:spcPts val="1000"/>
              </a:spcBef>
              <a:defRPr sz="1400"/>
            </a:lvl4pPr>
            <a:lvl5pPr>
              <a:lnSpc>
                <a:spcPct val="107000"/>
              </a:lnSpc>
              <a:spcBef>
                <a:spcPts val="1000"/>
              </a:spcBef>
              <a:defRPr sz="1400"/>
            </a:lvl5pPr>
            <a:lvl6pPr>
              <a:lnSpc>
                <a:spcPct val="107000"/>
              </a:lnSpc>
              <a:spcBef>
                <a:spcPts val="1000"/>
              </a:spcBef>
              <a:defRPr sz="1400"/>
            </a:lvl6pPr>
            <a:lvl7pPr>
              <a:lnSpc>
                <a:spcPct val="107000"/>
              </a:lnSpc>
              <a:spcBef>
                <a:spcPts val="1000"/>
              </a:spcBef>
              <a:defRPr sz="1400"/>
            </a:lvl7pPr>
            <a:lvl8pPr>
              <a:lnSpc>
                <a:spcPct val="107000"/>
              </a:lnSpc>
              <a:spcBef>
                <a:spcPts val="1000"/>
              </a:spcBef>
              <a:defRPr sz="1400"/>
            </a:lvl8pPr>
            <a:lvl9pPr>
              <a:lnSpc>
                <a:spcPct val="107000"/>
              </a:lnSpc>
              <a:spcBef>
                <a:spcPts val="1000"/>
              </a:spcBef>
              <a:defRPr sz="1400"/>
            </a:lvl9pPr>
          </a:lstStyle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183563" y="1628775"/>
            <a:ext cx="3600450" cy="2328285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8" hasCustomPrompt="1"/>
          </p:nvPr>
        </p:nvSpPr>
        <p:spPr bwMode="gray">
          <a:xfrm>
            <a:off x="8183563" y="4181795"/>
            <a:ext cx="3600450" cy="1840123"/>
          </a:xfrm>
        </p:spPr>
        <p:txBody>
          <a:bodyPr/>
          <a:lstStyle>
            <a:lvl1pPr>
              <a:lnSpc>
                <a:spcPct val="107000"/>
              </a:lnSpc>
              <a:spcBef>
                <a:spcPts val="1000"/>
              </a:spcBef>
              <a:defRPr sz="1400"/>
            </a:lvl1pPr>
            <a:lvl2pPr>
              <a:lnSpc>
                <a:spcPct val="107000"/>
              </a:lnSpc>
              <a:spcBef>
                <a:spcPts val="1000"/>
              </a:spcBef>
              <a:defRPr sz="1400"/>
            </a:lvl2pPr>
            <a:lvl3pPr>
              <a:lnSpc>
                <a:spcPct val="107000"/>
              </a:lnSpc>
              <a:spcBef>
                <a:spcPts val="1000"/>
              </a:spcBef>
              <a:defRPr sz="1400"/>
            </a:lvl3pPr>
            <a:lvl4pPr>
              <a:lnSpc>
                <a:spcPct val="107000"/>
              </a:lnSpc>
              <a:spcBef>
                <a:spcPts val="1000"/>
              </a:spcBef>
              <a:defRPr sz="1400"/>
            </a:lvl4pPr>
            <a:lvl5pPr>
              <a:lnSpc>
                <a:spcPct val="107000"/>
              </a:lnSpc>
              <a:spcBef>
                <a:spcPts val="1000"/>
              </a:spcBef>
              <a:defRPr sz="1400"/>
            </a:lvl5pPr>
            <a:lvl6pPr>
              <a:lnSpc>
                <a:spcPct val="107000"/>
              </a:lnSpc>
              <a:spcBef>
                <a:spcPts val="1000"/>
              </a:spcBef>
              <a:defRPr sz="1400"/>
            </a:lvl6pPr>
            <a:lvl7pPr>
              <a:lnSpc>
                <a:spcPct val="107000"/>
              </a:lnSpc>
              <a:spcBef>
                <a:spcPts val="1000"/>
              </a:spcBef>
              <a:defRPr sz="1400"/>
            </a:lvl7pPr>
            <a:lvl8pPr>
              <a:lnSpc>
                <a:spcPct val="107000"/>
              </a:lnSpc>
              <a:spcBef>
                <a:spcPts val="1000"/>
              </a:spcBef>
              <a:defRPr sz="1400"/>
            </a:lvl8pPr>
            <a:lvl9pPr>
              <a:lnSpc>
                <a:spcPct val="107000"/>
              </a:lnSpc>
              <a:spcBef>
                <a:spcPts val="1000"/>
              </a:spcBef>
              <a:defRPr sz="1400"/>
            </a:lvl9pPr>
          </a:lstStyle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FD869FD2-A1A6-411F-9520-5EF42BB6EC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07988" y="837000"/>
            <a:ext cx="11376025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pPr lvl="0"/>
            <a:r>
              <a:rPr lang="en-US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31347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only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6261315"/>
            <a:ext cx="12192000" cy="96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309320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512950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only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7988" y="333375"/>
            <a:ext cx="11376025" cy="5688013"/>
          </a:xfrm>
          <a:noFill/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95180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7"/>
          <p:cNvSpPr/>
          <p:nvPr/>
        </p:nvSpPr>
        <p:spPr bwMode="gray">
          <a:xfrm>
            <a:off x="7011975" y="0"/>
            <a:ext cx="5180025" cy="6858000"/>
          </a:xfrm>
          <a:custGeom>
            <a:avLst/>
            <a:gdLst>
              <a:gd name="connsiteX0" fmla="*/ 3629319 w 5724128"/>
              <a:gd name="connsiteY0" fmla="*/ 45244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3629319 w 5724128"/>
              <a:gd name="connsiteY4" fmla="*/ 45244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77844 w 5724128"/>
              <a:gd name="connsiteY0" fmla="*/ 2381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77844 w 5724128"/>
              <a:gd name="connsiteY4" fmla="*/ 2381 h 5143500"/>
              <a:gd name="connsiteX0" fmla="*/ 4360355 w 5706639"/>
              <a:gd name="connsiteY0" fmla="*/ 2381 h 5143500"/>
              <a:gd name="connsiteX1" fmla="*/ 5706639 w 5706639"/>
              <a:gd name="connsiteY1" fmla="*/ 0 h 5143500"/>
              <a:gd name="connsiteX2" fmla="*/ 5706639 w 5706639"/>
              <a:gd name="connsiteY2" fmla="*/ 5143500 h 5143500"/>
              <a:gd name="connsiteX3" fmla="*/ 0 w 5706639"/>
              <a:gd name="connsiteY3" fmla="*/ 5143500 h 5143500"/>
              <a:gd name="connsiteX4" fmla="*/ 4360355 w 5706639"/>
              <a:gd name="connsiteY4" fmla="*/ 2381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06639" h="5143500">
                <a:moveTo>
                  <a:pt x="4360355" y="2381"/>
                </a:moveTo>
                <a:lnTo>
                  <a:pt x="5706639" y="0"/>
                </a:lnTo>
                <a:lnTo>
                  <a:pt x="5706639" y="5143500"/>
                </a:lnTo>
                <a:lnTo>
                  <a:pt x="0" y="5143500"/>
                </a:lnTo>
                <a:lnTo>
                  <a:pt x="4360355" y="238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9" y="1460941"/>
            <a:ext cx="9432428" cy="1608019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9" y="3140969"/>
            <a:ext cx="9432428" cy="874044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1pPr>
            <a:lvl2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2pPr>
            <a:lvl3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3pPr>
            <a:lvl4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4pPr>
            <a:lvl5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5pPr>
            <a:lvl6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r>
              <a:rPr lang="en-US" noProof="0"/>
              <a:t>Click to edit Master subtitle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32E8717E-8EB2-4DB7-8834-2A871A1911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408000" y="405000"/>
            <a:ext cx="2160000" cy="50902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520894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09A170-7F0D-4E29-9677-74ABB303F1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</a:t>
            </a:r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13" hasCustomPrompt="1"/>
          </p:nvPr>
        </p:nvSpPr>
        <p:spPr bwMode="gray">
          <a:xfrm>
            <a:off x="407989" y="2371861"/>
            <a:ext cx="5543550" cy="3649526"/>
          </a:xfrm>
          <a:solidFill>
            <a:srgbClr val="DDDBDD"/>
          </a:solidFill>
        </p:spPr>
        <p:txBody>
          <a:bodyPr tIns="1296000"/>
          <a:lstStyle>
            <a:lvl1pPr marL="0" indent="0" algn="ctr">
              <a:buNone/>
              <a:defRPr sz="1400" baseline="0"/>
            </a:lvl1pPr>
          </a:lstStyle>
          <a:p>
            <a:r>
              <a:rPr lang="en-US"/>
              <a:t>Add chart (font 12 or 14 pts.)</a:t>
            </a:r>
          </a:p>
        </p:txBody>
      </p:sp>
      <p:sp>
        <p:nvSpPr>
          <p:cNvPr id="10" name="Diagrammplatzhalter 9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6241128" y="2371861"/>
            <a:ext cx="5542885" cy="3649526"/>
          </a:xfrm>
          <a:solidFill>
            <a:srgbClr val="DDDBDD"/>
          </a:solidFill>
        </p:spPr>
        <p:txBody>
          <a:bodyPr tIns="1296000"/>
          <a:lstStyle>
            <a:lvl1pPr marL="0" marR="0" indent="0" algn="ctr" defTabSz="1219170" rtl="0" eaLnBrk="1" fontAlgn="auto" latinLnBrk="0" hangingPunct="1">
              <a:lnSpc>
                <a:spcPct val="107000"/>
              </a:lnSpc>
              <a:spcBef>
                <a:spcPts val="1000"/>
              </a:spcBef>
              <a:spcAft>
                <a:spcPts val="0"/>
              </a:spcAft>
              <a:buClr>
                <a:schemeClr val="accent4">
                  <a:lumMod val="60000"/>
                  <a:lumOff val="40000"/>
                </a:schemeClr>
              </a:buClr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0" marR="0" lvl="0" indent="0" algn="ctr" defTabSz="1219170" rtl="0" eaLnBrk="1" fontAlgn="auto" latinLnBrk="0" hangingPunct="1">
              <a:lnSpc>
                <a:spcPct val="107000"/>
              </a:lnSpc>
              <a:spcBef>
                <a:spcPts val="1000"/>
              </a:spcBef>
              <a:spcAft>
                <a:spcPts val="0"/>
              </a:spcAft>
              <a:buClr>
                <a:schemeClr val="accent4">
                  <a:lumMod val="60000"/>
                  <a:lumOff val="40000"/>
                </a:scheme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chart (font 12 or 14 pts.)</a:t>
            </a:r>
          </a:p>
        </p:txBody>
      </p:sp>
      <p:sp>
        <p:nvSpPr>
          <p:cNvPr id="11" name="MIO_VALID_LAYOUT" hidden="1"/>
          <p:cNvSpPr/>
          <p:nvPr/>
        </p:nvSpPr>
        <p:spPr bwMode="gray">
          <a:xfrm>
            <a:off x="11717717" y="-15733"/>
            <a:ext cx="474283" cy="393473"/>
          </a:xfrm>
          <a:prstGeom prst="noSmoking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5672850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01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09A170-7F0D-4E29-9677-74ABB303F1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</a:t>
            </a:r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13" hasCustomPrompt="1"/>
          </p:nvPr>
        </p:nvSpPr>
        <p:spPr bwMode="gray">
          <a:xfrm>
            <a:off x="407989" y="2371861"/>
            <a:ext cx="5543550" cy="3649526"/>
          </a:xfrm>
          <a:solidFill>
            <a:srgbClr val="DDDBDD"/>
          </a:solidFill>
        </p:spPr>
        <p:txBody>
          <a:bodyPr tIns="1296000"/>
          <a:lstStyle>
            <a:lvl1pPr marL="0" indent="0" algn="ctr">
              <a:buNone/>
              <a:defRPr sz="1400" baseline="0"/>
            </a:lvl1pPr>
          </a:lstStyle>
          <a:p>
            <a:r>
              <a:rPr lang="en-US"/>
              <a:t>Add chart (font 12 or 14 pts.)</a:t>
            </a:r>
          </a:p>
        </p:txBody>
      </p:sp>
      <p:sp>
        <p:nvSpPr>
          <p:cNvPr id="10" name="Diagrammplatzhalter 9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6241128" y="2371861"/>
            <a:ext cx="5542885" cy="3649526"/>
          </a:xfrm>
          <a:solidFill>
            <a:srgbClr val="DDDBDD"/>
          </a:solidFill>
        </p:spPr>
        <p:txBody>
          <a:bodyPr tIns="1296000"/>
          <a:lstStyle>
            <a:lvl1pPr marL="0" marR="0" indent="0" algn="ctr" defTabSz="1219170" rtl="0" eaLnBrk="1" fontAlgn="auto" latinLnBrk="0" hangingPunct="1">
              <a:lnSpc>
                <a:spcPct val="107000"/>
              </a:lnSpc>
              <a:spcBef>
                <a:spcPts val="1000"/>
              </a:spcBef>
              <a:spcAft>
                <a:spcPts val="0"/>
              </a:spcAft>
              <a:buClr>
                <a:schemeClr val="accent4">
                  <a:lumMod val="60000"/>
                  <a:lumOff val="40000"/>
                </a:schemeClr>
              </a:buClr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0" marR="0" lvl="0" indent="0" algn="ctr" defTabSz="1219170" rtl="0" eaLnBrk="1" fontAlgn="auto" latinLnBrk="0" hangingPunct="1">
              <a:lnSpc>
                <a:spcPct val="107000"/>
              </a:lnSpc>
              <a:spcBef>
                <a:spcPts val="1000"/>
              </a:spcBef>
              <a:spcAft>
                <a:spcPts val="0"/>
              </a:spcAft>
              <a:buClr>
                <a:schemeClr val="accent4">
                  <a:lumMod val="60000"/>
                  <a:lumOff val="40000"/>
                </a:scheme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chart (font 12 or 14 pts.)</a:t>
            </a:r>
          </a:p>
        </p:txBody>
      </p:sp>
      <p:sp>
        <p:nvSpPr>
          <p:cNvPr id="11" name="MIO_VALID_LAYOUT" hidden="1"/>
          <p:cNvSpPr/>
          <p:nvPr/>
        </p:nvSpPr>
        <p:spPr bwMode="gray">
          <a:xfrm>
            <a:off x="11717717" y="-15733"/>
            <a:ext cx="474283" cy="393473"/>
          </a:xfrm>
          <a:prstGeom prst="noSmoking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804B3273-8047-47E4-B5B7-70F8ED79C6C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07988" y="837000"/>
            <a:ext cx="11376025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pPr lvl="0"/>
            <a:r>
              <a:rPr lang="en-US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533101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C65D61-31D9-4A34-811A-939C972053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MIO_VALID_LAYOUT" hidden="1"/>
          <p:cNvSpPr/>
          <p:nvPr/>
        </p:nvSpPr>
        <p:spPr bwMode="gray">
          <a:xfrm>
            <a:off x="11717717" y="-15733"/>
            <a:ext cx="474283" cy="393473"/>
          </a:xfrm>
          <a:prstGeom prst="noSmoking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 hasCustomPrompt="1"/>
          </p:nvPr>
        </p:nvSpPr>
        <p:spPr bwMode="gray">
          <a:xfrm>
            <a:off x="407989" y="2371862"/>
            <a:ext cx="11376024" cy="2964026"/>
          </a:xfrm>
          <a:solidFill>
            <a:srgbClr val="DDDBDD"/>
          </a:solidFill>
        </p:spPr>
        <p:txBody>
          <a:bodyPr tIns="972000"/>
          <a:lstStyle>
            <a:lvl1pPr marL="0" indent="0" algn="ctr">
              <a:buNone/>
              <a:defRPr sz="1400" baseline="0"/>
            </a:lvl1pPr>
          </a:lstStyle>
          <a:p>
            <a:r>
              <a:rPr lang="en-US"/>
              <a:t>Chart (14 pts.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0126026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02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C65D61-31D9-4A34-811A-939C972053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MIO_VALID_LAYOUT" hidden="1"/>
          <p:cNvSpPr/>
          <p:nvPr/>
        </p:nvSpPr>
        <p:spPr bwMode="gray">
          <a:xfrm>
            <a:off x="11717717" y="-15733"/>
            <a:ext cx="474283" cy="393473"/>
          </a:xfrm>
          <a:prstGeom prst="noSmoking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 hasCustomPrompt="1"/>
          </p:nvPr>
        </p:nvSpPr>
        <p:spPr bwMode="gray">
          <a:xfrm>
            <a:off x="407989" y="2371862"/>
            <a:ext cx="11376024" cy="2964026"/>
          </a:xfrm>
          <a:solidFill>
            <a:srgbClr val="DDDBDD"/>
          </a:solidFill>
        </p:spPr>
        <p:txBody>
          <a:bodyPr tIns="972000"/>
          <a:lstStyle>
            <a:lvl1pPr marL="0" indent="0" algn="ctr">
              <a:buNone/>
              <a:defRPr sz="1400" baseline="0"/>
            </a:lvl1pPr>
          </a:lstStyle>
          <a:p>
            <a:r>
              <a:rPr lang="en-US"/>
              <a:t>Chart (14 pts.)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9A7F9E1-2199-440E-A8D2-7B49855E7D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07988" y="837000"/>
            <a:ext cx="11376025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pPr lvl="0"/>
            <a:r>
              <a:rPr lang="en-US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93649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D2FB2F-07AE-4AD9-82AD-D54845761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13" hasCustomPrompt="1"/>
          </p:nvPr>
        </p:nvSpPr>
        <p:spPr bwMode="gray">
          <a:xfrm>
            <a:off x="407988" y="2253300"/>
            <a:ext cx="5543549" cy="1547294"/>
          </a:xfrm>
          <a:solidFill>
            <a:srgbClr val="DDDBDD"/>
          </a:solidFill>
        </p:spPr>
        <p:txBody>
          <a:bodyPr tIns="360000"/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Add chart (font 10 pts.)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6248347" y="2253300"/>
            <a:ext cx="5535665" cy="1547294"/>
          </a:xfrm>
          <a:solidFill>
            <a:srgbClr val="DDDBDD"/>
          </a:solidFill>
        </p:spPr>
        <p:txBody>
          <a:bodyPr tIns="360000"/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Add chart (font 10 pts.)</a:t>
            </a:r>
          </a:p>
        </p:txBody>
      </p:sp>
      <p:sp>
        <p:nvSpPr>
          <p:cNvPr id="10" name="Diagrammplatzhalter 9"/>
          <p:cNvSpPr>
            <a:spLocks noGrp="1"/>
          </p:cNvSpPr>
          <p:nvPr>
            <p:ph type="chart" sz="quarter" idx="15" hasCustomPrompt="1"/>
          </p:nvPr>
        </p:nvSpPr>
        <p:spPr bwMode="gray">
          <a:xfrm>
            <a:off x="407988" y="4469754"/>
            <a:ext cx="5543549" cy="1547294"/>
          </a:xfrm>
          <a:solidFill>
            <a:srgbClr val="DDDBDD"/>
          </a:solidFill>
        </p:spPr>
        <p:txBody>
          <a:bodyPr tIns="360000"/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Add chart (font 10 pts.)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16" hasCustomPrompt="1"/>
          </p:nvPr>
        </p:nvSpPr>
        <p:spPr bwMode="gray">
          <a:xfrm>
            <a:off x="6248347" y="4469754"/>
            <a:ext cx="5535665" cy="1547294"/>
          </a:xfrm>
          <a:solidFill>
            <a:srgbClr val="DDDBDD"/>
          </a:solidFill>
        </p:spPr>
        <p:txBody>
          <a:bodyPr tIns="360000"/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Add chart (font 10 pts.)</a:t>
            </a:r>
          </a:p>
        </p:txBody>
      </p:sp>
      <p:sp>
        <p:nvSpPr>
          <p:cNvPr id="13" name="MIO_VALID_LAYOUT" hidden="1"/>
          <p:cNvSpPr/>
          <p:nvPr/>
        </p:nvSpPr>
        <p:spPr bwMode="gray">
          <a:xfrm>
            <a:off x="11717717" y="-15733"/>
            <a:ext cx="474283" cy="393473"/>
          </a:xfrm>
          <a:prstGeom prst="noSmoking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6894748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03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D2FB2F-07AE-4AD9-82AD-D54845761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13" hasCustomPrompt="1"/>
          </p:nvPr>
        </p:nvSpPr>
        <p:spPr bwMode="gray">
          <a:xfrm>
            <a:off x="407988" y="2253300"/>
            <a:ext cx="5543549" cy="1547294"/>
          </a:xfrm>
          <a:solidFill>
            <a:srgbClr val="DDDBDD"/>
          </a:solidFill>
        </p:spPr>
        <p:txBody>
          <a:bodyPr tIns="360000"/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Add chart (font 10 pts.)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6248347" y="2253300"/>
            <a:ext cx="5535665" cy="1547294"/>
          </a:xfrm>
          <a:solidFill>
            <a:srgbClr val="DDDBDD"/>
          </a:solidFill>
        </p:spPr>
        <p:txBody>
          <a:bodyPr tIns="360000"/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Add chart (font 10 pts.)</a:t>
            </a:r>
          </a:p>
        </p:txBody>
      </p:sp>
      <p:sp>
        <p:nvSpPr>
          <p:cNvPr id="10" name="Diagrammplatzhalter 9"/>
          <p:cNvSpPr>
            <a:spLocks noGrp="1"/>
          </p:cNvSpPr>
          <p:nvPr>
            <p:ph type="chart" sz="quarter" idx="15" hasCustomPrompt="1"/>
          </p:nvPr>
        </p:nvSpPr>
        <p:spPr bwMode="gray">
          <a:xfrm>
            <a:off x="407988" y="4469754"/>
            <a:ext cx="5543549" cy="1547294"/>
          </a:xfrm>
          <a:solidFill>
            <a:srgbClr val="DDDBDD"/>
          </a:solidFill>
        </p:spPr>
        <p:txBody>
          <a:bodyPr tIns="360000"/>
          <a:lstStyle>
            <a:lvl1pPr marL="0" indent="0" algn="ctr">
              <a:buNone/>
              <a:defRPr sz="1000" baseline="0"/>
            </a:lvl1pPr>
          </a:lstStyle>
          <a:p>
            <a:r>
              <a:rPr lang="en-US"/>
              <a:t>Add chart (font 10 pts.)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16" hasCustomPrompt="1"/>
          </p:nvPr>
        </p:nvSpPr>
        <p:spPr bwMode="gray">
          <a:xfrm>
            <a:off x="6248347" y="4469754"/>
            <a:ext cx="5535665" cy="1547294"/>
          </a:xfrm>
          <a:solidFill>
            <a:srgbClr val="DDDBDD"/>
          </a:solidFill>
        </p:spPr>
        <p:txBody>
          <a:bodyPr tIns="360000"/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Add chart (font 10 pts.)</a:t>
            </a:r>
          </a:p>
        </p:txBody>
      </p:sp>
      <p:sp>
        <p:nvSpPr>
          <p:cNvPr id="13" name="MIO_VALID_LAYOUT" hidden="1"/>
          <p:cNvSpPr/>
          <p:nvPr/>
        </p:nvSpPr>
        <p:spPr bwMode="gray">
          <a:xfrm>
            <a:off x="11717717" y="-15733"/>
            <a:ext cx="474283" cy="393473"/>
          </a:xfrm>
          <a:prstGeom prst="noSmoking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E2FB80A0-C132-4018-B3A0-05CCA52C12F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07988" y="837000"/>
            <a:ext cx="11376025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pPr lvl="0"/>
            <a:r>
              <a:rPr lang="en-US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4248041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/>
        </p:nvSpPr>
        <p:spPr bwMode="gray">
          <a:xfrm>
            <a:off x="478366" y="6261315"/>
            <a:ext cx="11330268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/>
          </a:p>
        </p:txBody>
      </p:sp>
      <p:sp>
        <p:nvSpPr>
          <p:cNvPr id="9" name="object 3"/>
          <p:cNvSpPr/>
          <p:nvPr/>
        </p:nvSpPr>
        <p:spPr bwMode="gray">
          <a:xfrm>
            <a:off x="0" y="0"/>
            <a:ext cx="12192000" cy="6309613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9" y="1629000"/>
            <a:ext cx="7488236" cy="1368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0" hasCustomPrompt="1"/>
          </p:nvPr>
        </p:nvSpPr>
        <p:spPr bwMode="gray">
          <a:xfrm>
            <a:off x="407988" y="3105063"/>
            <a:ext cx="4871921" cy="2675555"/>
          </a:xfrm>
        </p:spPr>
        <p:txBody>
          <a:bodyPr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/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/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/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/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/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600" b="0"/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600" b="0"/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600" b="0"/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600" b="0"/>
            </a:lvl9pPr>
          </a:lstStyle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4BDB309A-4DF3-4FA6-B415-F1294E161C80}"/>
              </a:ext>
            </a:extLst>
          </p:cNvPr>
          <p:cNvSpPr/>
          <p:nvPr/>
        </p:nvSpPr>
        <p:spPr bwMode="gray">
          <a:xfrm>
            <a:off x="7624055" y="1200987"/>
            <a:ext cx="2046995" cy="3427412"/>
          </a:xfrm>
          <a:prstGeom prst="parallelogram">
            <a:avLst>
              <a:gd name="adj" fmla="val 9714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3EEADF8-6F86-4143-B2A8-E4CD037AD2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Executive Summary</a:t>
            </a:r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BC507B0-718C-4CAF-AAAB-1485D2FB2F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08065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0"/>
            <a:ext cx="12192000" cy="6309613"/>
          </a:xfrm>
          <a:prstGeom prst="rect">
            <a:avLst/>
          </a:prstGeom>
          <a:solidFill>
            <a:srgbClr val="7A7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9" y="1629000"/>
            <a:ext cx="7488236" cy="1368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0" hasCustomPrompt="1"/>
          </p:nvPr>
        </p:nvSpPr>
        <p:spPr bwMode="gray">
          <a:xfrm>
            <a:off x="407988" y="3105063"/>
            <a:ext cx="4871921" cy="2675555"/>
          </a:xfrm>
        </p:spPr>
        <p:txBody>
          <a:bodyPr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6B08A845-01B2-4D54-A7D4-64E7D9A8A4B5}"/>
              </a:ext>
            </a:extLst>
          </p:cNvPr>
          <p:cNvSpPr/>
          <p:nvPr/>
        </p:nvSpPr>
        <p:spPr bwMode="gray">
          <a:xfrm>
            <a:off x="7624055" y="1200987"/>
            <a:ext cx="2046995" cy="3427412"/>
          </a:xfrm>
          <a:prstGeom prst="parallelogram">
            <a:avLst>
              <a:gd name="adj" fmla="val 9714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9C78038-3210-404B-A775-397D0A07CC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Executive Summary</a:t>
            </a:r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1390124-38C4-443E-9E18-4D1A0E06C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8002814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yl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CA8D69A-BFC2-4B10-BE3B-DDECB81DE897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1776545" y="1872070"/>
            <a:ext cx="3326678" cy="3326678"/>
          </a:xfrm>
          <a:prstGeom prst="diamond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aseline="0"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6355918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53599" y="158744"/>
            <a:ext cx="11886467" cy="439200"/>
          </a:xfrm>
        </p:spPr>
        <p:txBody>
          <a:bodyPr>
            <a:noAutofit/>
          </a:bodyPr>
          <a:lstStyle>
            <a:lvl1pPr algn="ctr">
              <a:defRPr sz="2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51935" y="583128"/>
            <a:ext cx="11886467" cy="583200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51BDC4C-C24C-798B-ED03-68DB74BF689D}"/>
              </a:ext>
            </a:extLst>
          </p:cNvPr>
          <p:cNvSpPr/>
          <p:nvPr/>
        </p:nvSpPr>
        <p:spPr>
          <a:xfrm>
            <a:off x="-6433" y="6789058"/>
            <a:ext cx="12206400" cy="77821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o-RO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18896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7A7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8" y="2531113"/>
            <a:ext cx="7134491" cy="1152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8" y="3717032"/>
            <a:ext cx="7134491" cy="900000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2pPr>
            <a:lvl3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3pPr>
            <a:lvl4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4pPr>
            <a:lvl5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5pPr>
            <a:lvl6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6pPr>
            <a:lvl7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7pPr>
            <a:lvl8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8pPr>
            <a:lvl9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9pPr>
          </a:lstStyle>
          <a:p>
            <a:r>
              <a:rPr lang="en-US" noProof="0"/>
              <a:t>Click to edit Master subtitle</a:t>
            </a:r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5207F7E-7012-4494-B791-FC6B512767E4}"/>
              </a:ext>
            </a:extLst>
          </p:cNvPr>
          <p:cNvSpPr/>
          <p:nvPr/>
        </p:nvSpPr>
        <p:spPr bwMode="gray">
          <a:xfrm>
            <a:off x="7680327" y="1811338"/>
            <a:ext cx="2046995" cy="3427412"/>
          </a:xfrm>
          <a:prstGeom prst="parallelogram">
            <a:avLst>
              <a:gd name="adj" fmla="val 9714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5B97C058-6ADF-4F4B-B653-09FC14C91E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408000" y="405000"/>
            <a:ext cx="2160000" cy="50902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547692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8" y="2531113"/>
            <a:ext cx="7118634" cy="1152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8" y="3717032"/>
            <a:ext cx="7118634" cy="900000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1pPr>
            <a:lvl2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2pPr>
            <a:lvl3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3pPr>
            <a:lvl4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4pPr>
            <a:lvl5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5pPr>
            <a:lvl6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r>
              <a:rPr lang="en-US" noProof="0"/>
              <a:t>Click to edit Master subtitle</a:t>
            </a:r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DFA93D18-6565-48AB-86BE-DDBED8D376E0}"/>
              </a:ext>
            </a:extLst>
          </p:cNvPr>
          <p:cNvSpPr/>
          <p:nvPr/>
        </p:nvSpPr>
        <p:spPr bwMode="gray">
          <a:xfrm>
            <a:off x="7680327" y="1811338"/>
            <a:ext cx="2046995" cy="3427412"/>
          </a:xfrm>
          <a:prstGeom prst="parallelogram">
            <a:avLst>
              <a:gd name="adj" fmla="val 9714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237C509B-0B75-4AB5-A0FE-94F3164809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408000" y="405000"/>
            <a:ext cx="2160000" cy="50902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639646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9629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4" progId="TCLayout.ActiveDocument.1">
                  <p:embed/>
                </p:oleObj>
              </mc:Choice>
              <mc:Fallback>
                <p:oleObj name="think-cell Slide" r:id="rId4" imgW="415" imgH="41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Executive Summary</a:t>
            </a:r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6F8FB6F3-B5FF-45F4-8AF2-2669C315E9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581165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ly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266700" indent="-266700">
              <a:spcBef>
                <a:spcPts val="1000"/>
              </a:spcBef>
              <a:buClr>
                <a:srgbClr val="A19DA2"/>
              </a:buClr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ED1AA2E-EBD3-4EC3-A0BB-E5AAF80F9E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72643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ly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7"/>
          <p:cNvSpPr/>
          <p:nvPr/>
        </p:nvSpPr>
        <p:spPr bwMode="gray">
          <a:xfrm>
            <a:off x="8211670" y="0"/>
            <a:ext cx="3980329" cy="6858000"/>
          </a:xfrm>
          <a:custGeom>
            <a:avLst/>
            <a:gdLst>
              <a:gd name="connsiteX0" fmla="*/ 3629319 w 5724128"/>
              <a:gd name="connsiteY0" fmla="*/ 45244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3629319 w 5724128"/>
              <a:gd name="connsiteY4" fmla="*/ 45244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0 w 5724128"/>
              <a:gd name="connsiteY0" fmla="*/ 514350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4128" h="5143500">
                <a:moveTo>
                  <a:pt x="0" y="5143500"/>
                </a:moveTo>
                <a:lnTo>
                  <a:pt x="5724128" y="0"/>
                </a:lnTo>
                <a:lnTo>
                  <a:pt x="5724128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07988" y="1628775"/>
            <a:ext cx="8711438" cy="4392613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54B3EEEF-A498-4F04-AC6E-655D805C5B0A}"/>
              </a:ext>
            </a:extLst>
          </p:cNvPr>
          <p:cNvSpPr>
            <a:spLocks noChangeAspect="1"/>
          </p:cNvSpPr>
          <p:nvPr/>
        </p:nvSpPr>
        <p:spPr bwMode="gray">
          <a:xfrm>
            <a:off x="11228917" y="6462248"/>
            <a:ext cx="127259" cy="216000"/>
          </a:xfrm>
          <a:custGeom>
            <a:avLst/>
            <a:gdLst>
              <a:gd name="T0" fmla="*/ 1544 w 1570"/>
              <a:gd name="T1" fmla="*/ 0 h 2675"/>
              <a:gd name="T2" fmla="*/ 1544 w 1570"/>
              <a:gd name="T3" fmla="*/ 0 h 2675"/>
              <a:gd name="T4" fmla="*/ 0 w 1570"/>
              <a:gd name="T5" fmla="*/ 2675 h 2675"/>
              <a:gd name="T6" fmla="*/ 26 w 1570"/>
              <a:gd name="T7" fmla="*/ 2675 h 2675"/>
              <a:gd name="T8" fmla="*/ 1570 w 1570"/>
              <a:gd name="T9" fmla="*/ 0 h 2675"/>
              <a:gd name="T10" fmla="*/ 1544 w 1570"/>
              <a:gd name="T11" fmla="*/ 0 h 26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570" h="2675">
                <a:moveTo>
                  <a:pt x="1544" y="0"/>
                </a:moveTo>
                <a:lnTo>
                  <a:pt x="1544" y="0"/>
                </a:lnTo>
                <a:lnTo>
                  <a:pt x="0" y="2675"/>
                </a:lnTo>
                <a:lnTo>
                  <a:pt x="26" y="2675"/>
                </a:lnTo>
                <a:lnTo>
                  <a:pt x="1570" y="0"/>
                </a:lnTo>
                <a:lnTo>
                  <a:pt x="1544" y="0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B733DCD-D0ED-471A-8EE4-20DA9415D183}"/>
              </a:ext>
            </a:extLst>
          </p:cNvPr>
          <p:cNvSpPr/>
          <p:nvPr/>
        </p:nvSpPr>
        <p:spPr bwMode="gray">
          <a:xfrm>
            <a:off x="11288510" y="6430004"/>
            <a:ext cx="152079" cy="3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BB86EED-8D84-4E9A-BAC4-43E32953B56B}"/>
              </a:ext>
            </a:extLst>
          </p:cNvPr>
          <p:cNvSpPr/>
          <p:nvPr/>
        </p:nvSpPr>
        <p:spPr bwMode="gray">
          <a:xfrm>
            <a:off x="11172124" y="6678007"/>
            <a:ext cx="152079" cy="3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74E7D24-F547-4A59-83F8-AC2775E2FD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080406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55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image" Target="../media/image3.svg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32099494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3" imgW="411" imgH="422" progId="TCLayout.ActiveDocument.1">
                  <p:embed/>
                </p:oleObj>
              </mc:Choice>
              <mc:Fallback>
                <p:oleObj name="think-cell Slide" r:id="rId53" imgW="411" imgH="422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07988" y="333000"/>
            <a:ext cx="11376025" cy="7925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07987" y="1628775"/>
            <a:ext cx="11376025" cy="43926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632001" y="6469556"/>
            <a:ext cx="9108516" cy="1876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Executive Summary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424592" y="6470315"/>
            <a:ext cx="504056" cy="1868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B4178FD-43BF-4968-A299-3450DC0CDF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C4B56FAB-07B8-4150-8842-385D7BD7BA8E}"/>
              </a:ext>
            </a:extLst>
          </p:cNvPr>
          <p:cNvSpPr>
            <a:spLocks noChangeAspect="1"/>
          </p:cNvSpPr>
          <p:nvPr/>
        </p:nvSpPr>
        <p:spPr bwMode="gray">
          <a:xfrm>
            <a:off x="11228917" y="6462248"/>
            <a:ext cx="127259" cy="216000"/>
          </a:xfrm>
          <a:custGeom>
            <a:avLst/>
            <a:gdLst>
              <a:gd name="T0" fmla="*/ 1544 w 1570"/>
              <a:gd name="T1" fmla="*/ 0 h 2675"/>
              <a:gd name="T2" fmla="*/ 1544 w 1570"/>
              <a:gd name="T3" fmla="*/ 0 h 2675"/>
              <a:gd name="T4" fmla="*/ 0 w 1570"/>
              <a:gd name="T5" fmla="*/ 2675 h 2675"/>
              <a:gd name="T6" fmla="*/ 26 w 1570"/>
              <a:gd name="T7" fmla="*/ 2675 h 2675"/>
              <a:gd name="T8" fmla="*/ 1570 w 1570"/>
              <a:gd name="T9" fmla="*/ 0 h 2675"/>
              <a:gd name="T10" fmla="*/ 1544 w 1570"/>
              <a:gd name="T11" fmla="*/ 0 h 26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570" h="2675">
                <a:moveTo>
                  <a:pt x="1544" y="0"/>
                </a:moveTo>
                <a:lnTo>
                  <a:pt x="1544" y="0"/>
                </a:lnTo>
                <a:lnTo>
                  <a:pt x="0" y="2675"/>
                </a:lnTo>
                <a:lnTo>
                  <a:pt x="26" y="2675"/>
                </a:lnTo>
                <a:lnTo>
                  <a:pt x="1570" y="0"/>
                </a:lnTo>
                <a:lnTo>
                  <a:pt x="1544" y="0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02BFB88-8D10-4A00-8E3D-CA9A6FDA2E2E}"/>
              </a:ext>
            </a:extLst>
          </p:cNvPr>
          <p:cNvSpPr/>
          <p:nvPr/>
        </p:nvSpPr>
        <p:spPr bwMode="gray">
          <a:xfrm>
            <a:off x="11288510" y="6430004"/>
            <a:ext cx="152079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690D21E-A84B-4D0B-BABA-B4D1561ACCEA}"/>
              </a:ext>
            </a:extLst>
          </p:cNvPr>
          <p:cNvSpPr/>
          <p:nvPr/>
        </p:nvSpPr>
        <p:spPr bwMode="gray">
          <a:xfrm>
            <a:off x="11172124" y="6678007"/>
            <a:ext cx="152079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298B9BD1-E09B-4FB0-9069-24413CC2DAB5}"/>
              </a:ext>
            </a:extLst>
          </p:cNvPr>
          <p:cNvCxnSpPr/>
          <p:nvPr/>
        </p:nvCxnSpPr>
        <p:spPr bwMode="gray">
          <a:xfrm>
            <a:off x="407988" y="-171000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3C6AE7EF-8419-477D-B972-7AC647A65E03}"/>
              </a:ext>
            </a:extLst>
          </p:cNvPr>
          <p:cNvCxnSpPr/>
          <p:nvPr/>
        </p:nvCxnSpPr>
        <p:spPr bwMode="gray">
          <a:xfrm>
            <a:off x="4008000" y="-171000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1019560E-01E4-4931-B723-671E1DD9F0FE}"/>
              </a:ext>
            </a:extLst>
          </p:cNvPr>
          <p:cNvCxnSpPr/>
          <p:nvPr/>
        </p:nvCxnSpPr>
        <p:spPr bwMode="gray">
          <a:xfrm>
            <a:off x="4296000" y="-171000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6488AD63-355C-4C4C-80E4-0000C68933DC}"/>
              </a:ext>
            </a:extLst>
          </p:cNvPr>
          <p:cNvCxnSpPr/>
          <p:nvPr/>
        </p:nvCxnSpPr>
        <p:spPr bwMode="gray">
          <a:xfrm>
            <a:off x="11784013" y="-171000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68E62EA2-970C-4484-8750-11AA2591CA1B}"/>
              </a:ext>
            </a:extLst>
          </p:cNvPr>
          <p:cNvCxnSpPr/>
          <p:nvPr/>
        </p:nvCxnSpPr>
        <p:spPr bwMode="gray">
          <a:xfrm>
            <a:off x="5952000" y="-171000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D9A3DF59-1643-4F44-82C5-4A90582E4678}"/>
              </a:ext>
            </a:extLst>
          </p:cNvPr>
          <p:cNvCxnSpPr/>
          <p:nvPr/>
        </p:nvCxnSpPr>
        <p:spPr bwMode="gray">
          <a:xfrm>
            <a:off x="6240000" y="-171000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510A6AA5-C41D-4121-89FE-A11293E06DBB}"/>
              </a:ext>
            </a:extLst>
          </p:cNvPr>
          <p:cNvCxnSpPr/>
          <p:nvPr/>
        </p:nvCxnSpPr>
        <p:spPr bwMode="gray">
          <a:xfrm>
            <a:off x="7896000" y="-171000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9489B9FD-9C07-45B1-8CD4-8C352D257A21}"/>
              </a:ext>
            </a:extLst>
          </p:cNvPr>
          <p:cNvCxnSpPr/>
          <p:nvPr/>
        </p:nvCxnSpPr>
        <p:spPr bwMode="gray">
          <a:xfrm>
            <a:off x="8184000" y="-171000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7CDD3BA0-0CEF-46E9-A680-79AEB927BFD7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132000" y="297000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Logo">
            <a:extLst>
              <a:ext uri="{FF2B5EF4-FFF2-40B4-BE49-F238E27FC236}">
                <a16:creationId xmlns:a16="http://schemas.microsoft.com/office/drawing/2014/main" id="{A2A9B173-23D7-442F-B3BC-AFF0AD7D654C}"/>
              </a:ext>
            </a:extLst>
          </p:cNvPr>
          <p:cNvPicPr>
            <a:picLocks noChangeAspect="1"/>
          </p:cNvPicPr>
          <p:nvPr userDrawn="1"/>
        </p:nvPicPr>
        <p:blipFill>
          <a:blip r:embed="rId55">
            <a:extLs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 bwMode="gray">
          <a:xfrm>
            <a:off x="408000" y="6453000"/>
            <a:ext cx="870754" cy="205200"/>
          </a:xfrm>
          <a:prstGeom prst="rect">
            <a:avLst/>
          </a:prstGeom>
        </p:spPr>
      </p:pic>
    </p:spTree>
    <p:custDataLst>
      <p:tags r:id="rId51"/>
    </p:custDataLst>
    <p:extLst>
      <p:ext uri="{BB962C8B-B14F-4D97-AF65-F5344CB8AC3E}">
        <p14:creationId xmlns:p14="http://schemas.microsoft.com/office/powerpoint/2010/main" val="3246290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2" r:id="rId4"/>
    <p:sldLayoutId id="2147483674" r:id="rId5"/>
    <p:sldLayoutId id="2147483675" r:id="rId6"/>
    <p:sldLayoutId id="2147483654" r:id="rId7"/>
    <p:sldLayoutId id="2147483650" r:id="rId8"/>
    <p:sldLayoutId id="2147483676" r:id="rId9"/>
    <p:sldLayoutId id="2147483716" r:id="rId10"/>
    <p:sldLayoutId id="2147483717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72" r:id="rId17"/>
    <p:sldLayoutId id="2147483679" r:id="rId18"/>
    <p:sldLayoutId id="2147483718" r:id="rId19"/>
    <p:sldLayoutId id="2147483719" r:id="rId20"/>
    <p:sldLayoutId id="2147483680" r:id="rId21"/>
    <p:sldLayoutId id="2147483681" r:id="rId22"/>
    <p:sldLayoutId id="2147483692" r:id="rId23"/>
    <p:sldLayoutId id="2147483668" r:id="rId24"/>
    <p:sldLayoutId id="2147483699" r:id="rId25"/>
    <p:sldLayoutId id="2147483682" r:id="rId26"/>
    <p:sldLayoutId id="2147483700" r:id="rId27"/>
    <p:sldLayoutId id="2147483663" r:id="rId28"/>
    <p:sldLayoutId id="2147483701" r:id="rId29"/>
    <p:sldLayoutId id="2147483664" r:id="rId30"/>
    <p:sldLayoutId id="2147483702" r:id="rId31"/>
    <p:sldLayoutId id="2147483683" r:id="rId32"/>
    <p:sldLayoutId id="2147483703" r:id="rId33"/>
    <p:sldLayoutId id="2147483665" r:id="rId34"/>
    <p:sldLayoutId id="2147483704" r:id="rId35"/>
    <p:sldLayoutId id="2147483666" r:id="rId36"/>
    <p:sldLayoutId id="2147483705" r:id="rId37"/>
    <p:sldLayoutId id="2147483667" r:id="rId38"/>
    <p:sldLayoutId id="2147483673" r:id="rId39"/>
    <p:sldLayoutId id="2147483720" r:id="rId40"/>
    <p:sldLayoutId id="2147483706" r:id="rId41"/>
    <p:sldLayoutId id="2147483721" r:id="rId42"/>
    <p:sldLayoutId id="2147483707" r:id="rId43"/>
    <p:sldLayoutId id="2147483722" r:id="rId44"/>
    <p:sldLayoutId id="2147483708" r:id="rId45"/>
    <p:sldLayoutId id="2147483684" r:id="rId46"/>
    <p:sldLayoutId id="2147483685" r:id="rId47"/>
    <p:sldLayoutId id="2147483723" r:id="rId48"/>
    <p:sldLayoutId id="2147483724" r:id="rId49"/>
  </p:sldLayoutIdLst>
  <p:hf sldNum="0" hdr="0" dt="0"/>
  <p:txStyles>
    <p:titleStyle>
      <a:lvl1pPr algn="l" defTabSz="1219170" rtl="0" eaLnBrk="1" latinLnBrk="0" hangingPunct="1">
        <a:lnSpc>
          <a:spcPts val="3270"/>
        </a:lnSpc>
        <a:spcBef>
          <a:spcPct val="0"/>
        </a:spcBef>
        <a:buNone/>
        <a:defRPr sz="30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1219170" rtl="0" eaLnBrk="1" latinLnBrk="0" hangingPunct="1">
        <a:lnSpc>
          <a:spcPct val="107000"/>
        </a:lnSpc>
        <a:spcBef>
          <a:spcPts val="1000"/>
        </a:spcBef>
        <a:buClr>
          <a:srgbClr val="A19DA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3600" indent="-266400" algn="l" defTabSz="1219170" rtl="0" eaLnBrk="1" latinLnBrk="0" hangingPunct="1">
        <a:lnSpc>
          <a:spcPct val="107000"/>
        </a:lnSpc>
        <a:spcBef>
          <a:spcPts val="1000"/>
        </a:spcBef>
        <a:buClr>
          <a:srgbClr val="A19DA2"/>
        </a:buClr>
        <a:buFont typeface="Arial" panose="020B0604020202020204" pitchFamily="34" charset="0"/>
        <a:buChar char="–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66400" algn="l" defTabSz="1219170" rtl="0" eaLnBrk="1" latinLnBrk="0" hangingPunct="1">
        <a:spcBef>
          <a:spcPts val="600"/>
        </a:spcBef>
        <a:buClr>
          <a:srgbClr val="A19DA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400" indent="-266700" algn="l" defTabSz="1219170" rtl="0" eaLnBrk="1" latinLnBrk="0" hangingPunct="1">
        <a:spcBef>
          <a:spcPts val="600"/>
        </a:spcBef>
        <a:buClr>
          <a:srgbClr val="A19DA2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66700" algn="l" defTabSz="1219170" rtl="0" eaLnBrk="1" latinLnBrk="0" hangingPunct="1">
        <a:spcBef>
          <a:spcPts val="600"/>
        </a:spcBef>
        <a:buClr>
          <a:srgbClr val="A19DA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66400" algn="l" defTabSz="1219170" rtl="0" eaLnBrk="1" latinLnBrk="0" hangingPunct="1">
        <a:spcBef>
          <a:spcPct val="20000"/>
        </a:spcBef>
        <a:buClr>
          <a:srgbClr val="A19DA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620000" indent="-266400" algn="l" defTabSz="1219170" rtl="0" eaLnBrk="1" latinLnBrk="0" hangingPunct="1">
        <a:spcBef>
          <a:spcPct val="20000"/>
        </a:spcBef>
        <a:buClr>
          <a:srgbClr val="A19DA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620000" indent="-266400" algn="l" defTabSz="1219170" rtl="0" eaLnBrk="1" latinLnBrk="0" hangingPunct="1">
        <a:spcBef>
          <a:spcPct val="20000"/>
        </a:spcBef>
        <a:buClr>
          <a:srgbClr val="A19DA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266400" algn="l" defTabSz="1219170" rtl="0" eaLnBrk="1" latinLnBrk="0" hangingPunct="1">
        <a:spcBef>
          <a:spcPct val="20000"/>
        </a:spcBef>
        <a:buClr>
          <a:srgbClr val="A19DA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749">
          <p15:clr>
            <a:srgbClr val="F26B43"/>
          </p15:clr>
        </p15:guide>
        <p15:guide id="3" pos="3931">
          <p15:clr>
            <a:srgbClr val="F26B43"/>
          </p15:clr>
        </p15:guide>
        <p15:guide id="4" pos="7423">
          <p15:clr>
            <a:srgbClr val="F26B43"/>
          </p15:clr>
        </p15:guide>
        <p15:guide id="5" pos="257">
          <p15:clr>
            <a:srgbClr val="F26B43"/>
          </p15:clr>
        </p15:guide>
        <p15:guide id="6" orient="horz" pos="3793">
          <p15:clr>
            <a:srgbClr val="F26B43"/>
          </p15:clr>
        </p15:guide>
        <p15:guide id="7" orient="horz" pos="210">
          <p15:clr>
            <a:srgbClr val="F26B43"/>
          </p15:clr>
        </p15:guide>
        <p15:guide id="8" orient="horz" pos="1026">
          <p15:clr>
            <a:srgbClr val="F26B43"/>
          </p15:clr>
        </p15:guide>
        <p15:guide id="9" pos="2525">
          <p15:clr>
            <a:srgbClr val="F26B43"/>
          </p15:clr>
        </p15:guide>
        <p15:guide id="10" pos="2706">
          <p15:clr>
            <a:srgbClr val="F26B43"/>
          </p15:clr>
        </p15:guide>
        <p15:guide id="11" pos="4974">
          <p15:clr>
            <a:srgbClr val="F26B43"/>
          </p15:clr>
        </p15:guide>
        <p15:guide id="12" pos="5155">
          <p15:clr>
            <a:srgbClr val="F26B43"/>
          </p15:clr>
        </p15:guide>
        <p15:guide id="13" orient="horz" pos="7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7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10" Type="http://schemas.openxmlformats.org/officeDocument/2006/relationships/image" Target="../media/image34.svg"/><Relationship Id="rId4" Type="http://schemas.openxmlformats.org/officeDocument/2006/relationships/image" Target="../media/image28.svg"/><Relationship Id="rId9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11.xml"/><Relationship Id="rId7" Type="http://schemas.microsoft.com/office/2007/relationships/hdphoto" Target="../media/hdphoto2.wdp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.xml"/><Relationship Id="rId6" Type="http://schemas.openxmlformats.org/officeDocument/2006/relationships/image" Target="../media/image3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12.xml"/><Relationship Id="rId7" Type="http://schemas.microsoft.com/office/2007/relationships/hdphoto" Target="../media/hdphoto2.wdp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.xml"/><Relationship Id="rId6" Type="http://schemas.openxmlformats.org/officeDocument/2006/relationships/image" Target="../media/image3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.xml"/><Relationship Id="rId6" Type="http://schemas.openxmlformats.org/officeDocument/2006/relationships/image" Target="../media/image1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5" Type="http://schemas.microsoft.com/office/2007/relationships/hdphoto" Target="../media/hdphoto2.wdp"/><Relationship Id="rId4" Type="http://schemas.openxmlformats.org/officeDocument/2006/relationships/image" Target="../media/image3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image" Target="../media/image8.emf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oleObject" Target="../embeddings/oleObject9.bin"/><Relationship Id="rId5" Type="http://schemas.openxmlformats.org/officeDocument/2006/relationships/tags" Target="../tags/tag62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61.xml"/><Relationship Id="rId9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.xml"/><Relationship Id="rId6" Type="http://schemas.openxmlformats.org/officeDocument/2006/relationships/image" Target="../media/image3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47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2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47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microsoft.com/office/2007/relationships/hdphoto" Target="../media/hdphoto1.wdp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68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emf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3.png"/><Relationship Id="rId1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69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70.xml"/><Relationship Id="rId6" Type="http://schemas.openxmlformats.org/officeDocument/2006/relationships/image" Target="../media/image18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3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jpeg"/><Relationship Id="rId7" Type="http://schemas.openxmlformats.org/officeDocument/2006/relationships/image" Target="../media/image23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10" Type="http://schemas.openxmlformats.org/officeDocument/2006/relationships/image" Target="../media/image26.jpeg"/><Relationship Id="rId4" Type="http://schemas.openxmlformats.org/officeDocument/2006/relationships/image" Target="../media/image20.jpeg"/><Relationship Id="rId9" Type="http://schemas.openxmlformats.org/officeDocument/2006/relationships/image" Target="../media/image25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18916AC-9347-8315-8C8A-07254A4A9F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2037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8916AC-9347-8315-8C8A-07254A4A9F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15DE6B5-1ABD-A741-0DC3-7769DA7696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1460940"/>
            <a:ext cx="3887787" cy="1968060"/>
          </a:xfrm>
        </p:spPr>
        <p:txBody>
          <a:bodyPr vert="horz"/>
          <a:lstStyle/>
          <a:p>
            <a:r>
              <a:rPr lang="en-US" dirty="0"/>
              <a:t>Executive Business Summary </a:t>
            </a:r>
            <a:br>
              <a:rPr lang="en-US" dirty="0"/>
            </a:br>
            <a:endParaRPr lang="en-US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3756D3DE-5EFE-4115-5CCC-8F6B65E876E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924" y="3564961"/>
            <a:ext cx="3335750" cy="431050"/>
          </a:xfrm>
        </p:spPr>
        <p:txBody>
          <a:bodyPr/>
          <a:lstStyle/>
          <a:p>
            <a:r>
              <a:rPr lang="en-US" b="0" dirty="0"/>
              <a:t>Exclusively created for: </a:t>
            </a:r>
          </a:p>
          <a:p>
            <a:endParaRPr lang="en-US" b="0" dirty="0"/>
          </a:p>
          <a:p>
            <a:endParaRPr lang="en-US" b="0" dirty="0"/>
          </a:p>
        </p:txBody>
      </p:sp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9BDA46FC-47F7-16F9-443D-5DCF9DEB754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/>
          <a:srcRect l="1230" r="1230"/>
          <a:stretch/>
        </p:blipFill>
        <p:spPr/>
      </p:pic>
      <p:sp>
        <p:nvSpPr>
          <p:cNvPr id="2" name="Subtitle 6">
            <a:extLst>
              <a:ext uri="{FF2B5EF4-FFF2-40B4-BE49-F238E27FC236}">
                <a16:creationId xmlns:a16="http://schemas.microsoft.com/office/drawing/2014/main" id="{E1F9FC84-4A5B-51D2-D9C1-4B22B56B6D22}"/>
              </a:ext>
            </a:extLst>
          </p:cNvPr>
          <p:cNvSpPr txBox="1">
            <a:spLocks/>
          </p:cNvSpPr>
          <p:nvPr/>
        </p:nvSpPr>
        <p:spPr bwMode="gray">
          <a:xfrm>
            <a:off x="437924" y="3996011"/>
            <a:ext cx="3335750" cy="431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lnSpc>
                <a:spcPct val="107000"/>
              </a:lnSpc>
              <a:spcBef>
                <a:spcPts val="0"/>
              </a:spcBef>
              <a:buClr>
                <a:srgbClr val="A19DA2"/>
              </a:buClr>
              <a:buFont typeface="Arial" panose="020B0604020202020204" pitchFamily="34" charset="0"/>
              <a:buNone/>
              <a:defRPr sz="1800" b="1" kern="1200">
                <a:solidFill>
                  <a:srgbClr val="671C3E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lnSpc>
                <a:spcPct val="107000"/>
              </a:lnSpc>
              <a:spcBef>
                <a:spcPts val="0"/>
              </a:spcBef>
              <a:buClr>
                <a:srgbClr val="A19DA2"/>
              </a:buClr>
              <a:buFont typeface="Arial" panose="020B0604020202020204" pitchFamily="34" charset="0"/>
              <a:buNone/>
              <a:defRPr sz="1800" b="1" kern="1200">
                <a:solidFill>
                  <a:srgbClr val="671C3E"/>
                </a:solidFill>
                <a:latin typeface="+mn-lt"/>
                <a:ea typeface="+mn-ea"/>
                <a:cs typeface="+mn-cs"/>
              </a:defRPr>
            </a:lvl2pPr>
            <a:lvl3pPr marL="0" indent="0" algn="l" defTabSz="1219170" rtl="0" eaLnBrk="1" latinLnBrk="0" hangingPunct="1">
              <a:lnSpc>
                <a:spcPct val="107000"/>
              </a:lnSpc>
              <a:spcBef>
                <a:spcPts val="0"/>
              </a:spcBef>
              <a:buClr>
                <a:srgbClr val="A19DA2"/>
              </a:buClr>
              <a:buFont typeface="Arial" panose="020B0604020202020204" pitchFamily="34" charset="0"/>
              <a:buNone/>
              <a:defRPr sz="1800" b="1" kern="1200">
                <a:solidFill>
                  <a:srgbClr val="671C3E"/>
                </a:solidFill>
                <a:latin typeface="+mn-lt"/>
                <a:ea typeface="+mn-ea"/>
                <a:cs typeface="+mn-cs"/>
              </a:defRPr>
            </a:lvl3pPr>
            <a:lvl4pPr marL="0" indent="0" algn="l" defTabSz="1219170" rtl="0" eaLnBrk="1" latinLnBrk="0" hangingPunct="1">
              <a:lnSpc>
                <a:spcPct val="107000"/>
              </a:lnSpc>
              <a:spcBef>
                <a:spcPts val="0"/>
              </a:spcBef>
              <a:buClr>
                <a:srgbClr val="A19DA2"/>
              </a:buClr>
              <a:buFont typeface="Arial" panose="020B0604020202020204" pitchFamily="34" charset="0"/>
              <a:buNone/>
              <a:defRPr sz="1800" b="1" kern="1200">
                <a:solidFill>
                  <a:srgbClr val="671C3E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7000"/>
              </a:lnSpc>
              <a:spcBef>
                <a:spcPts val="0"/>
              </a:spcBef>
              <a:buClr>
                <a:srgbClr val="A19DA2"/>
              </a:buClr>
              <a:buFont typeface="Arial" panose="020B0604020202020204" pitchFamily="34" charset="0"/>
              <a:buNone/>
              <a:defRPr sz="1800" b="1" kern="1200">
                <a:solidFill>
                  <a:srgbClr val="671C3E"/>
                </a:solidFill>
                <a:latin typeface="+mn-lt"/>
                <a:ea typeface="+mn-ea"/>
                <a:cs typeface="+mn-cs"/>
              </a:defRPr>
            </a:lvl5pPr>
            <a:lvl6pPr marL="0" indent="0" algn="l" defTabSz="1219170" rtl="0" eaLnBrk="1" latinLnBrk="0" hangingPunct="1">
              <a:lnSpc>
                <a:spcPct val="107000"/>
              </a:lnSpc>
              <a:spcBef>
                <a:spcPts val="0"/>
              </a:spcBef>
              <a:buClr>
                <a:srgbClr val="A19DA2"/>
              </a:buClr>
              <a:buFont typeface="Arial" panose="020B0604020202020204" pitchFamily="34" charset="0"/>
              <a:buNone/>
              <a:defRPr sz="1800" b="1" kern="1200">
                <a:solidFill>
                  <a:srgbClr val="671C3E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170" rtl="0" eaLnBrk="1" latinLnBrk="0" hangingPunct="1">
              <a:lnSpc>
                <a:spcPct val="107000"/>
              </a:lnSpc>
              <a:spcBef>
                <a:spcPts val="0"/>
              </a:spcBef>
              <a:buClr>
                <a:srgbClr val="A19DA2"/>
              </a:buClr>
              <a:buFont typeface="Arial" panose="020B0604020202020204" pitchFamily="34" charset="0"/>
              <a:buNone/>
              <a:defRPr sz="1800" b="1" kern="1200">
                <a:solidFill>
                  <a:srgbClr val="671C3E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170" rtl="0" eaLnBrk="1" latinLnBrk="0" hangingPunct="1">
              <a:lnSpc>
                <a:spcPct val="107000"/>
              </a:lnSpc>
              <a:spcBef>
                <a:spcPts val="0"/>
              </a:spcBef>
              <a:buClr>
                <a:srgbClr val="A19DA2"/>
              </a:buClr>
              <a:buFont typeface="Arial" panose="020B0604020202020204" pitchFamily="34" charset="0"/>
              <a:buNone/>
              <a:defRPr sz="1800" b="1" kern="1200">
                <a:solidFill>
                  <a:srgbClr val="671C3E"/>
                </a:solidFill>
                <a:latin typeface="+mn-lt"/>
                <a:ea typeface="+mn-ea"/>
                <a:cs typeface="+mn-cs"/>
              </a:defRPr>
            </a:lvl8pPr>
            <a:lvl9pPr marL="0" indent="0" algn="l" defTabSz="1219170" rtl="0" eaLnBrk="1" latinLnBrk="0" hangingPunct="1">
              <a:lnSpc>
                <a:spcPct val="107000"/>
              </a:lnSpc>
              <a:spcBef>
                <a:spcPts val="0"/>
              </a:spcBef>
              <a:buClr>
                <a:srgbClr val="A19DA2"/>
              </a:buClr>
              <a:buFont typeface="Arial" panose="020B0604020202020204" pitchFamily="34" charset="0"/>
              <a:buNone/>
              <a:defRPr sz="1800" b="1" kern="1200">
                <a:solidFill>
                  <a:srgbClr val="671C3E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/>
              <a:t>CAD4</a:t>
            </a:r>
          </a:p>
          <a:p>
            <a:r>
              <a:rPr lang="en-US" b="0"/>
              <a:t>ffsd, Canada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3177688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A96C4B2-1742-D387-73B6-F34A89A88D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xecutive Summary</a:t>
            </a:r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F5DE834-B000-A671-8C31-855FFA1C9F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/>
              <a:t>EXECUTIVE</a:t>
            </a:r>
            <a:r>
              <a:rPr lang="en-US" sz="1800" spc="-65"/>
              <a:t> </a:t>
            </a:r>
            <a:r>
              <a:rPr lang="en-US" sz="1800" spc="-10" err="1"/>
              <a:t>SUMMARy</a:t>
            </a:r>
            <a:r>
              <a:rPr lang="en-US" sz="1800" spc="-10"/>
              <a:t>  </a:t>
            </a:r>
            <a:r>
              <a:rPr lang="en-US" spc="-10"/>
              <a:t>financial impact </a:t>
            </a:r>
            <a:endParaRPr lang="en-US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F4E8E3C5-CE5B-A161-1C50-30F40719020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2002854"/>
              </p:ext>
            </p:extLst>
          </p:nvPr>
        </p:nvGraphicFramePr>
        <p:xfrm>
          <a:off x="7354287" y="2362083"/>
          <a:ext cx="4288536" cy="33741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B81DB756-2BBC-F881-1975-956C5E6C6C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28450928"/>
              </p:ext>
            </p:extLst>
          </p:nvPr>
        </p:nvGraphicFramePr>
        <p:xfrm>
          <a:off x="493774" y="2368522"/>
          <a:ext cx="4284134" cy="33721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22" name="Group 21">
            <a:extLst>
              <a:ext uri="{FF2B5EF4-FFF2-40B4-BE49-F238E27FC236}">
                <a16:creationId xmlns:a16="http://schemas.microsoft.com/office/drawing/2014/main" id="{89F82117-8A43-7B3E-4146-93C181D80E21}"/>
              </a:ext>
            </a:extLst>
          </p:cNvPr>
          <p:cNvGrpSpPr/>
          <p:nvPr/>
        </p:nvGrpSpPr>
        <p:grpSpPr>
          <a:xfrm>
            <a:off x="4859133" y="3102512"/>
            <a:ext cx="2413931" cy="2405578"/>
            <a:chOff x="4889032" y="2310783"/>
            <a:chExt cx="2413931" cy="2759090"/>
          </a:xfrm>
        </p:grpSpPr>
        <p:sp>
          <p:nvSpPr>
            <p:cNvPr id="17" name="TextBox 16">
              <a:hlinkClick r:id="" action="ppaction://noaction"/>
              <a:extLst>
                <a:ext uri="{FF2B5EF4-FFF2-40B4-BE49-F238E27FC236}">
                  <a16:creationId xmlns:a16="http://schemas.microsoft.com/office/drawing/2014/main" id="{05830188-68C9-098B-FBB0-40BBEBA7C1EF}"/>
                </a:ext>
              </a:extLst>
            </p:cNvPr>
            <p:cNvSpPr txBox="1"/>
            <p:nvPr/>
          </p:nvSpPr>
          <p:spPr>
            <a:xfrm>
              <a:off x="5029839" y="2310783"/>
              <a:ext cx="2132315" cy="388306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VDC &amp; Prefabrication</a:t>
              </a:r>
              <a:endParaRPr lang="en-US" sz="1600" u="sng" dirty="0">
                <a:solidFill>
                  <a:schemeClr val="accent4"/>
                </a:solidFill>
                <a:latin typeface="+mj-lt"/>
                <a:ea typeface="League Spartan" charset="0"/>
                <a:cs typeface="Poppins" pitchFamily="2" charset="77"/>
              </a:endParaRPr>
            </a:p>
          </p:txBody>
        </p:sp>
        <p:sp>
          <p:nvSpPr>
            <p:cNvPr id="18" name="TextBox 17">
              <a:hlinkClick r:id="" action="ppaction://noaction"/>
              <a:extLst>
                <a:ext uri="{FF2B5EF4-FFF2-40B4-BE49-F238E27FC236}">
                  <a16:creationId xmlns:a16="http://schemas.microsoft.com/office/drawing/2014/main" id="{E2816F39-73BF-47C6-D869-0839AC2FEA54}"/>
                </a:ext>
              </a:extLst>
            </p:cNvPr>
            <p:cNvSpPr txBox="1"/>
            <p:nvPr/>
          </p:nvSpPr>
          <p:spPr>
            <a:xfrm>
              <a:off x="4937670" y="2857304"/>
              <a:ext cx="2316660" cy="388306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Resource</a:t>
              </a:r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</a:rPr>
                <a:t> Management</a:t>
              </a:r>
            </a:p>
          </p:txBody>
        </p:sp>
        <p:sp>
          <p:nvSpPr>
            <p:cNvPr id="19" name="TextBox 18">
              <a:hlinkClick r:id="" action="ppaction://noaction"/>
              <a:extLst>
                <a:ext uri="{FF2B5EF4-FFF2-40B4-BE49-F238E27FC236}">
                  <a16:creationId xmlns:a16="http://schemas.microsoft.com/office/drawing/2014/main" id="{9597AC7A-A7C9-2367-654B-C3684ACA0286}"/>
                </a:ext>
              </a:extLst>
            </p:cNvPr>
            <p:cNvSpPr txBox="1"/>
            <p:nvPr/>
          </p:nvSpPr>
          <p:spPr>
            <a:xfrm>
              <a:off x="5051482" y="3471446"/>
              <a:ext cx="2089034" cy="388306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</a:rPr>
                <a:t>Jobsite Management</a:t>
              </a:r>
            </a:p>
          </p:txBody>
        </p:sp>
        <p:sp>
          <p:nvSpPr>
            <p:cNvPr id="20" name="TextBox 19">
              <a:hlinkClick r:id="" action="ppaction://noaction"/>
              <a:extLst>
                <a:ext uri="{FF2B5EF4-FFF2-40B4-BE49-F238E27FC236}">
                  <a16:creationId xmlns:a16="http://schemas.microsoft.com/office/drawing/2014/main" id="{6984C6E1-C09B-1F7E-56F3-36625ACCF3A3}"/>
                </a:ext>
              </a:extLst>
            </p:cNvPr>
            <p:cNvSpPr txBox="1"/>
            <p:nvPr/>
          </p:nvSpPr>
          <p:spPr>
            <a:xfrm>
              <a:off x="4968542" y="4094484"/>
              <a:ext cx="2254913" cy="388306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igh</a:t>
              </a:r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</a:rPr>
                <a:t> </a:t>
              </a:r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erforming</a:t>
              </a:r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</a:rPr>
                <a:t> Tools </a:t>
              </a:r>
            </a:p>
          </p:txBody>
        </p:sp>
        <p:sp>
          <p:nvSpPr>
            <p:cNvPr id="21" name="TextBox 20">
              <a:hlinkClick r:id="" action="ppaction://noaction"/>
              <a:extLst>
                <a:ext uri="{FF2B5EF4-FFF2-40B4-BE49-F238E27FC236}">
                  <a16:creationId xmlns:a16="http://schemas.microsoft.com/office/drawing/2014/main" id="{D94AEE65-5372-6197-2D21-4527FAA0F355}"/>
                </a:ext>
              </a:extLst>
            </p:cNvPr>
            <p:cNvSpPr txBox="1"/>
            <p:nvPr/>
          </p:nvSpPr>
          <p:spPr>
            <a:xfrm>
              <a:off x="4889032" y="4681567"/>
              <a:ext cx="2413931" cy="388306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</a:rPr>
                <a:t>Work </a:t>
              </a:r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ackage</a:t>
              </a:r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</a:rPr>
                <a:t> Solutions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B07CBA3-E883-D1C5-C824-C4040192E30E}"/>
              </a:ext>
            </a:extLst>
          </p:cNvPr>
          <p:cNvGrpSpPr/>
          <p:nvPr/>
        </p:nvGrpSpPr>
        <p:grpSpPr>
          <a:xfrm>
            <a:off x="680046" y="1125538"/>
            <a:ext cx="3921912" cy="852549"/>
            <a:chOff x="408000" y="1600130"/>
            <a:chExt cx="3921912" cy="852549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6A64927-A04A-5C8B-E1CB-EDA1FC8F630B}"/>
                </a:ext>
              </a:extLst>
            </p:cNvPr>
            <p:cNvSpPr txBox="1"/>
            <p:nvPr/>
          </p:nvSpPr>
          <p:spPr>
            <a:xfrm>
              <a:off x="2721004" y="1600130"/>
              <a:ext cx="1461939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algn="r">
                <a:spcBef>
                  <a:spcPts val="600"/>
                </a:spcBef>
              </a:pPr>
              <a:r>
                <a:rPr lang="en-US" sz="1800" b="1">
                  <a:latin typeface="+mj-lt"/>
                  <a:cs typeface="Poppins" pitchFamily="2" charset="77"/>
                </a:rPr>
                <a:t>Current State</a:t>
              </a:r>
            </a:p>
          </p:txBody>
        </p:sp>
        <p:sp>
          <p:nvSpPr>
            <p:cNvPr id="15" name="Subtitle 2">
              <a:extLst>
                <a:ext uri="{FF2B5EF4-FFF2-40B4-BE49-F238E27FC236}">
                  <a16:creationId xmlns:a16="http://schemas.microsoft.com/office/drawing/2014/main" id="{A88D441C-D16F-C4C3-E2F6-A92CD827B7A5}"/>
                </a:ext>
              </a:extLst>
            </p:cNvPr>
            <p:cNvSpPr txBox="1">
              <a:spLocks/>
            </p:cNvSpPr>
            <p:nvPr/>
          </p:nvSpPr>
          <p:spPr>
            <a:xfrm>
              <a:off x="408000" y="2013648"/>
              <a:ext cx="3921912" cy="4390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ts val="1750"/>
                </a:lnSpc>
                <a:spcBef>
                  <a:spcPts val="600"/>
                </a:spcBef>
              </a:pP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Lorem ipsum dolor sit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amet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,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consetetur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sadipscing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elitr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, sed diam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nonumy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eirmod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tempor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invidunt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ut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labore et.</a:t>
              </a: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BF6DAF32-F969-FE2A-DC44-77F2F2B921C7}"/>
              </a:ext>
            </a:extLst>
          </p:cNvPr>
          <p:cNvSpPr txBox="1"/>
          <p:nvPr/>
        </p:nvSpPr>
        <p:spPr>
          <a:xfrm>
            <a:off x="5630658" y="1227070"/>
            <a:ext cx="938078" cy="76944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4400" b="1" dirty="0">
                <a:solidFill>
                  <a:srgbClr val="671C3E"/>
                </a:solidFill>
                <a:latin typeface="+mj-lt"/>
                <a:cs typeface="Poppins" pitchFamily="2" charset="77"/>
              </a:rPr>
              <a:t>V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77DF6A4-0938-739E-3C4E-FA09B1C9D793}"/>
              </a:ext>
            </a:extLst>
          </p:cNvPr>
          <p:cNvGrpSpPr/>
          <p:nvPr/>
        </p:nvGrpSpPr>
        <p:grpSpPr>
          <a:xfrm>
            <a:off x="7472770" y="1108549"/>
            <a:ext cx="3921912" cy="866866"/>
            <a:chOff x="408000" y="1585813"/>
            <a:chExt cx="3921912" cy="866866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38ACE05-99FB-9445-7969-603519E8A3DC}"/>
                </a:ext>
              </a:extLst>
            </p:cNvPr>
            <p:cNvSpPr txBox="1"/>
            <p:nvPr/>
          </p:nvSpPr>
          <p:spPr>
            <a:xfrm>
              <a:off x="435900" y="1585813"/>
              <a:ext cx="1346522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1800" b="1" dirty="0">
                  <a:latin typeface="+mj-lt"/>
                  <a:cs typeface="Poppins" pitchFamily="2" charset="77"/>
                </a:rPr>
                <a:t>Future State</a:t>
              </a:r>
            </a:p>
          </p:txBody>
        </p:sp>
        <p:sp>
          <p:nvSpPr>
            <p:cNvPr id="7" name="Subtitle 2">
              <a:extLst>
                <a:ext uri="{FF2B5EF4-FFF2-40B4-BE49-F238E27FC236}">
                  <a16:creationId xmlns:a16="http://schemas.microsoft.com/office/drawing/2014/main" id="{9613E647-34F8-CEAD-0508-D56163D56588}"/>
                </a:ext>
              </a:extLst>
            </p:cNvPr>
            <p:cNvSpPr txBox="1">
              <a:spLocks/>
            </p:cNvSpPr>
            <p:nvPr/>
          </p:nvSpPr>
          <p:spPr>
            <a:xfrm>
              <a:off x="408000" y="2013648"/>
              <a:ext cx="3921912" cy="4390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  <a:spcBef>
                  <a:spcPts val="600"/>
                </a:spcBef>
              </a:pP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Lorem ipsum dolor sit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amet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,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consetetur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sadipscing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elitr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, sed diam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nonumy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eirmod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tempor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invidunt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ut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labore et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04B7558F-20BF-C564-4BB3-3324517FA05E}"/>
              </a:ext>
            </a:extLst>
          </p:cNvPr>
          <p:cNvSpPr txBox="1"/>
          <p:nvPr/>
        </p:nvSpPr>
        <p:spPr>
          <a:xfrm>
            <a:off x="9982200" y="109477"/>
            <a:ext cx="2053717" cy="57124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800" dirty="0"/>
              <a:t>Needs data from Excel file</a:t>
            </a:r>
          </a:p>
        </p:txBody>
      </p:sp>
    </p:spTree>
    <p:extLst>
      <p:ext uri="{BB962C8B-B14F-4D97-AF65-F5344CB8AC3E}">
        <p14:creationId xmlns:p14="http://schemas.microsoft.com/office/powerpoint/2010/main" val="42908188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A96C4B2-1742-D387-73B6-F34A89A88D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xecutive Summary</a:t>
            </a:r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F5DE834-B000-A671-8C31-855FFA1C9F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/>
              <a:t>EXECUTIVE</a:t>
            </a:r>
            <a:r>
              <a:rPr lang="en-US" sz="1800" spc="-65"/>
              <a:t> </a:t>
            </a:r>
            <a:r>
              <a:rPr lang="en-US" sz="1800" spc="-10" err="1"/>
              <a:t>SUMMARy</a:t>
            </a:r>
            <a:r>
              <a:rPr lang="en-US" sz="1800" spc="-10"/>
              <a:t>  </a:t>
            </a:r>
            <a:r>
              <a:rPr lang="en-US" spc="-10"/>
              <a:t>financial impact </a:t>
            </a:r>
            <a:endParaRPr lang="en-US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F4E8E3C5-CE5B-A161-1C50-30F40719020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77523920"/>
              </p:ext>
            </p:extLst>
          </p:nvPr>
        </p:nvGraphicFramePr>
        <p:xfrm>
          <a:off x="7348995" y="2368428"/>
          <a:ext cx="4288536" cy="33741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B81DB756-2BBC-F881-1975-956C5E6C6C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92288641"/>
              </p:ext>
            </p:extLst>
          </p:nvPr>
        </p:nvGraphicFramePr>
        <p:xfrm>
          <a:off x="487424" y="2384397"/>
          <a:ext cx="4284134" cy="33721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8B7230C-961A-705B-1478-F6098B3A2D7C}"/>
              </a:ext>
            </a:extLst>
          </p:cNvPr>
          <p:cNvSpPr txBox="1"/>
          <p:nvPr/>
        </p:nvSpPr>
        <p:spPr>
          <a:xfrm>
            <a:off x="9982200" y="109477"/>
            <a:ext cx="2053717" cy="57124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800" dirty="0"/>
              <a:t>Needs data from Excel fi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F8E900D-41B3-3F3F-D177-E08D3563D49B}"/>
              </a:ext>
            </a:extLst>
          </p:cNvPr>
          <p:cNvGrpSpPr/>
          <p:nvPr/>
        </p:nvGrpSpPr>
        <p:grpSpPr>
          <a:xfrm>
            <a:off x="680046" y="1125538"/>
            <a:ext cx="3921912" cy="852549"/>
            <a:chOff x="408000" y="1600130"/>
            <a:chExt cx="3921912" cy="852549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38FCE35-802E-452D-6BA6-36237F7D7DA7}"/>
                </a:ext>
              </a:extLst>
            </p:cNvPr>
            <p:cNvSpPr txBox="1"/>
            <p:nvPr/>
          </p:nvSpPr>
          <p:spPr>
            <a:xfrm>
              <a:off x="2721004" y="1600130"/>
              <a:ext cx="1461939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algn="r">
                <a:spcBef>
                  <a:spcPts val="600"/>
                </a:spcBef>
              </a:pPr>
              <a:r>
                <a:rPr lang="en-US" sz="1800" b="1">
                  <a:latin typeface="+mj-lt"/>
                  <a:cs typeface="Poppins" pitchFamily="2" charset="77"/>
                </a:rPr>
                <a:t>Current State</a:t>
              </a:r>
            </a:p>
          </p:txBody>
        </p:sp>
        <p:sp>
          <p:nvSpPr>
            <p:cNvPr id="7" name="Subtitle 2">
              <a:extLst>
                <a:ext uri="{FF2B5EF4-FFF2-40B4-BE49-F238E27FC236}">
                  <a16:creationId xmlns:a16="http://schemas.microsoft.com/office/drawing/2014/main" id="{73666CAD-861D-DD44-8167-6A0D274ED531}"/>
                </a:ext>
              </a:extLst>
            </p:cNvPr>
            <p:cNvSpPr txBox="1">
              <a:spLocks/>
            </p:cNvSpPr>
            <p:nvPr/>
          </p:nvSpPr>
          <p:spPr>
            <a:xfrm>
              <a:off x="408000" y="2013648"/>
              <a:ext cx="3921912" cy="4390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ts val="1750"/>
                </a:lnSpc>
                <a:spcBef>
                  <a:spcPts val="600"/>
                </a:spcBef>
              </a:pP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Lorem ipsum dolor sit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amet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,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consetetur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sadipscing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elitr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, sed diam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nonumy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eirmod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tempor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invidunt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ut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labore et.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D31424EA-4D4A-0A7A-8F31-7B040E26CE8B}"/>
              </a:ext>
            </a:extLst>
          </p:cNvPr>
          <p:cNvSpPr txBox="1"/>
          <p:nvPr/>
        </p:nvSpPr>
        <p:spPr>
          <a:xfrm>
            <a:off x="5630658" y="1227070"/>
            <a:ext cx="938078" cy="76944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4400" b="1" dirty="0">
                <a:solidFill>
                  <a:srgbClr val="671C3E"/>
                </a:solidFill>
                <a:latin typeface="+mj-lt"/>
                <a:cs typeface="Poppins" pitchFamily="2" charset="77"/>
              </a:rPr>
              <a:t>V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272BF5B-6FA7-2E04-E964-74AA7021D80A}"/>
              </a:ext>
            </a:extLst>
          </p:cNvPr>
          <p:cNvGrpSpPr/>
          <p:nvPr/>
        </p:nvGrpSpPr>
        <p:grpSpPr>
          <a:xfrm>
            <a:off x="7472770" y="1108549"/>
            <a:ext cx="3921912" cy="866866"/>
            <a:chOff x="408000" y="1585813"/>
            <a:chExt cx="3921912" cy="866866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E72B5D7-8353-EC9F-75B9-D37BACBF2B32}"/>
                </a:ext>
              </a:extLst>
            </p:cNvPr>
            <p:cNvSpPr txBox="1"/>
            <p:nvPr/>
          </p:nvSpPr>
          <p:spPr>
            <a:xfrm>
              <a:off x="435900" y="1585813"/>
              <a:ext cx="1346522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1800" b="1" dirty="0">
                  <a:latin typeface="+mj-lt"/>
                  <a:cs typeface="Poppins" pitchFamily="2" charset="77"/>
                </a:rPr>
                <a:t>Future State</a:t>
              </a:r>
            </a:p>
          </p:txBody>
        </p:sp>
        <p:sp>
          <p:nvSpPr>
            <p:cNvPr id="17" name="Subtitle 2">
              <a:extLst>
                <a:ext uri="{FF2B5EF4-FFF2-40B4-BE49-F238E27FC236}">
                  <a16:creationId xmlns:a16="http://schemas.microsoft.com/office/drawing/2014/main" id="{664B3C92-57B6-A183-0559-715A9C0E8270}"/>
                </a:ext>
              </a:extLst>
            </p:cNvPr>
            <p:cNvSpPr txBox="1">
              <a:spLocks/>
            </p:cNvSpPr>
            <p:nvPr/>
          </p:nvSpPr>
          <p:spPr>
            <a:xfrm>
              <a:off x="408000" y="2013648"/>
              <a:ext cx="3921912" cy="4390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  <a:spcBef>
                  <a:spcPts val="600"/>
                </a:spcBef>
              </a:pP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Lorem ipsum dolor sit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amet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,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consetetur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sadipscing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elitr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, sed diam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nonumy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eirmod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tempor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invidunt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ut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labore et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59F4F29-ADD5-1EEA-0C7E-C0FCD13C07BD}"/>
              </a:ext>
            </a:extLst>
          </p:cNvPr>
          <p:cNvGrpSpPr/>
          <p:nvPr/>
        </p:nvGrpSpPr>
        <p:grpSpPr>
          <a:xfrm>
            <a:off x="4889034" y="3102512"/>
            <a:ext cx="2413931" cy="2405578"/>
            <a:chOff x="4889032" y="2310783"/>
            <a:chExt cx="2413931" cy="2759090"/>
          </a:xfrm>
        </p:grpSpPr>
        <p:sp>
          <p:nvSpPr>
            <p:cNvPr id="19" name="TextBox 18">
              <a:hlinkClick r:id="" action="ppaction://noaction"/>
              <a:extLst>
                <a:ext uri="{FF2B5EF4-FFF2-40B4-BE49-F238E27FC236}">
                  <a16:creationId xmlns:a16="http://schemas.microsoft.com/office/drawing/2014/main" id="{24BDEE92-4EC7-8055-EBF6-D222ED1E56C3}"/>
                </a:ext>
              </a:extLst>
            </p:cNvPr>
            <p:cNvSpPr txBox="1"/>
            <p:nvPr/>
          </p:nvSpPr>
          <p:spPr>
            <a:xfrm>
              <a:off x="5029839" y="2310783"/>
              <a:ext cx="2132315" cy="388306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VDC &amp; Prefabrication</a:t>
              </a:r>
              <a:endParaRPr lang="en-US" sz="1600" u="sng" dirty="0">
                <a:solidFill>
                  <a:schemeClr val="accent4"/>
                </a:solidFill>
                <a:latin typeface="+mj-lt"/>
                <a:ea typeface="League Spartan" charset="0"/>
                <a:cs typeface="Poppins" pitchFamily="2" charset="77"/>
              </a:endParaRPr>
            </a:p>
          </p:txBody>
        </p:sp>
        <p:sp>
          <p:nvSpPr>
            <p:cNvPr id="20" name="TextBox 19">
              <a:hlinkClick r:id="" action="ppaction://noaction"/>
              <a:extLst>
                <a:ext uri="{FF2B5EF4-FFF2-40B4-BE49-F238E27FC236}">
                  <a16:creationId xmlns:a16="http://schemas.microsoft.com/office/drawing/2014/main" id="{6D65ECA6-0F5F-EF9B-927D-C9A1F08677D5}"/>
                </a:ext>
              </a:extLst>
            </p:cNvPr>
            <p:cNvSpPr txBox="1"/>
            <p:nvPr/>
          </p:nvSpPr>
          <p:spPr>
            <a:xfrm>
              <a:off x="4937670" y="2857304"/>
              <a:ext cx="2316660" cy="388306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Resource</a:t>
              </a:r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</a:rPr>
                <a:t> Management</a:t>
              </a:r>
            </a:p>
          </p:txBody>
        </p:sp>
        <p:sp>
          <p:nvSpPr>
            <p:cNvPr id="21" name="TextBox 20">
              <a:hlinkClick r:id="" action="ppaction://noaction"/>
              <a:extLst>
                <a:ext uri="{FF2B5EF4-FFF2-40B4-BE49-F238E27FC236}">
                  <a16:creationId xmlns:a16="http://schemas.microsoft.com/office/drawing/2014/main" id="{2E13C4D4-B9EA-5671-61F9-7712AFAAAD80}"/>
                </a:ext>
              </a:extLst>
            </p:cNvPr>
            <p:cNvSpPr txBox="1"/>
            <p:nvPr/>
          </p:nvSpPr>
          <p:spPr>
            <a:xfrm>
              <a:off x="5051482" y="3471446"/>
              <a:ext cx="2089034" cy="388306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</a:rPr>
                <a:t>Jobsite Management</a:t>
              </a:r>
            </a:p>
          </p:txBody>
        </p:sp>
        <p:sp>
          <p:nvSpPr>
            <p:cNvPr id="22" name="TextBox 21">
              <a:hlinkClick r:id="" action="ppaction://noaction"/>
              <a:extLst>
                <a:ext uri="{FF2B5EF4-FFF2-40B4-BE49-F238E27FC236}">
                  <a16:creationId xmlns:a16="http://schemas.microsoft.com/office/drawing/2014/main" id="{CDCF8652-C970-A782-A708-7613388A1096}"/>
                </a:ext>
              </a:extLst>
            </p:cNvPr>
            <p:cNvSpPr txBox="1"/>
            <p:nvPr/>
          </p:nvSpPr>
          <p:spPr>
            <a:xfrm>
              <a:off x="4968542" y="4094484"/>
              <a:ext cx="2254913" cy="388306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igh</a:t>
              </a:r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</a:rPr>
                <a:t> </a:t>
              </a:r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erforming</a:t>
              </a:r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</a:rPr>
                <a:t> Tools </a:t>
              </a:r>
            </a:p>
          </p:txBody>
        </p:sp>
        <p:sp>
          <p:nvSpPr>
            <p:cNvPr id="32" name="TextBox 31">
              <a:hlinkClick r:id="" action="ppaction://noaction"/>
              <a:extLst>
                <a:ext uri="{FF2B5EF4-FFF2-40B4-BE49-F238E27FC236}">
                  <a16:creationId xmlns:a16="http://schemas.microsoft.com/office/drawing/2014/main" id="{FBB7455D-BA48-80E6-54AD-B619165F7C8A}"/>
                </a:ext>
              </a:extLst>
            </p:cNvPr>
            <p:cNvSpPr txBox="1"/>
            <p:nvPr/>
          </p:nvSpPr>
          <p:spPr>
            <a:xfrm>
              <a:off x="4889032" y="4681567"/>
              <a:ext cx="2413931" cy="388306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</a:rPr>
                <a:t>Work </a:t>
              </a:r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ackage</a:t>
              </a:r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</a:rPr>
                <a:t> 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730302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90650E5-25B9-3AC2-CB69-A8FCDE8A2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xecutive Summary</a:t>
            </a:r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4BAAE7-EFB8-19D8-F3BD-05FA24EAC0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i="0" u="none" strike="noStrike" cap="all">
                <a:solidFill>
                  <a:srgbClr val="D2051E"/>
                </a:solidFill>
                <a:effectLst/>
                <a:latin typeface="Arial" panose="020B0604020202020204" pitchFamily="34" charset="0"/>
              </a:rPr>
              <a:t>Feedback from your field team</a:t>
            </a:r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2E4153B5-BBC1-1946-9768-CF2958C77B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8984" y="1307354"/>
            <a:ext cx="1828800" cy="18288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568EBA94-CDA8-1D52-351E-C62C5D0AD4C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595792" y="3888455"/>
            <a:ext cx="1828800" cy="18288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FDD56DD-3E4D-5A61-1C81-DCCFBF018F1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97614" y="1307354"/>
            <a:ext cx="1828800" cy="182880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601C1FAB-A299-A03C-0F23-617B6FEB413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68814" y="3888455"/>
            <a:ext cx="1828800" cy="1828800"/>
          </a:xfrm>
          <a:prstGeom prst="rect">
            <a:avLst/>
          </a:prstGeom>
        </p:spPr>
      </p:pic>
      <p:sp>
        <p:nvSpPr>
          <p:cNvPr id="13" name="Speech Bubble: Rectangle 12">
            <a:extLst>
              <a:ext uri="{FF2B5EF4-FFF2-40B4-BE49-F238E27FC236}">
                <a16:creationId xmlns:a16="http://schemas.microsoft.com/office/drawing/2014/main" id="{760B97EE-C0F8-E084-F486-8251016518B6}"/>
              </a:ext>
            </a:extLst>
          </p:cNvPr>
          <p:cNvSpPr/>
          <p:nvPr/>
        </p:nvSpPr>
        <p:spPr>
          <a:xfrm>
            <a:off x="2986248" y="1307354"/>
            <a:ext cx="2678828" cy="2008132"/>
          </a:xfrm>
          <a:prstGeom prst="wedgeRectCallout">
            <a:avLst>
              <a:gd name="adj1" fmla="val -78049"/>
              <a:gd name="adj2" fmla="val -9722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dirty="0">
                <a:solidFill>
                  <a:schemeClr val="accent4"/>
                </a:solidFill>
              </a:rPr>
              <a:t>“Working with cords is becoming more and more complicated. It would be It would be ideal to have everything on battery.”</a:t>
            </a:r>
          </a:p>
        </p:txBody>
      </p:sp>
      <p:sp>
        <p:nvSpPr>
          <p:cNvPr id="14" name="Speech Bubble: Rectangle 13">
            <a:extLst>
              <a:ext uri="{FF2B5EF4-FFF2-40B4-BE49-F238E27FC236}">
                <a16:creationId xmlns:a16="http://schemas.microsoft.com/office/drawing/2014/main" id="{AB490F70-D417-4DC0-7666-C487410BE4BC}"/>
              </a:ext>
            </a:extLst>
          </p:cNvPr>
          <p:cNvSpPr/>
          <p:nvPr/>
        </p:nvSpPr>
        <p:spPr>
          <a:xfrm>
            <a:off x="6812014" y="3993186"/>
            <a:ext cx="2395048" cy="1492468"/>
          </a:xfrm>
          <a:prstGeom prst="wedgeRectCallout">
            <a:avLst>
              <a:gd name="adj1" fmla="val 83004"/>
              <a:gd name="adj2" fmla="val -11835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>
                <a:solidFill>
                  <a:schemeClr val="accent4"/>
                </a:solidFill>
              </a:rPr>
              <a:t>XXXX</a:t>
            </a:r>
          </a:p>
        </p:txBody>
      </p:sp>
      <p:sp>
        <p:nvSpPr>
          <p:cNvPr id="15" name="Speech Bubble: Rectangle 14">
            <a:extLst>
              <a:ext uri="{FF2B5EF4-FFF2-40B4-BE49-F238E27FC236}">
                <a16:creationId xmlns:a16="http://schemas.microsoft.com/office/drawing/2014/main" id="{82DEEBB9-2E8C-4519-41A0-0993CEF82ADF}"/>
              </a:ext>
            </a:extLst>
          </p:cNvPr>
          <p:cNvSpPr/>
          <p:nvPr/>
        </p:nvSpPr>
        <p:spPr>
          <a:xfrm>
            <a:off x="1022201" y="3993186"/>
            <a:ext cx="2395048" cy="1492468"/>
          </a:xfrm>
          <a:prstGeom prst="wedgeRectCallout">
            <a:avLst>
              <a:gd name="adj1" fmla="val 90903"/>
              <a:gd name="adj2" fmla="val -15356"/>
            </a:avLst>
          </a:prstGeom>
          <a:solidFill>
            <a:srgbClr val="B9AA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accent4"/>
                </a:solidFill>
              </a:rPr>
              <a:t>“The maintenance or repairs of tools</a:t>
            </a:r>
          </a:p>
          <a:p>
            <a:pPr algn="ctr"/>
            <a:r>
              <a:rPr lang="en-US" sz="1800" dirty="0">
                <a:solidFill>
                  <a:schemeClr val="accent4"/>
                </a:solidFill>
              </a:rPr>
              <a:t>(Milwaukee) take a long time.”</a:t>
            </a:r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7" name="Speech Bubble: Rectangle 16">
            <a:extLst>
              <a:ext uri="{FF2B5EF4-FFF2-40B4-BE49-F238E27FC236}">
                <a16:creationId xmlns:a16="http://schemas.microsoft.com/office/drawing/2014/main" id="{4DE051C0-4FE5-F5C3-1E83-7CA89EEA21A3}"/>
              </a:ext>
            </a:extLst>
          </p:cNvPr>
          <p:cNvSpPr/>
          <p:nvPr/>
        </p:nvSpPr>
        <p:spPr>
          <a:xfrm>
            <a:off x="8398268" y="1363206"/>
            <a:ext cx="2395048" cy="1492468"/>
          </a:xfrm>
          <a:prstGeom prst="wedgeRectCallout">
            <a:avLst>
              <a:gd name="adj1" fmla="val -82876"/>
              <a:gd name="adj2" fmla="val -6905"/>
            </a:avLst>
          </a:prstGeom>
          <a:solidFill>
            <a:srgbClr val="D7CE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>
                <a:solidFill>
                  <a:schemeClr val="accent4"/>
                </a:solidFill>
              </a:rPr>
              <a:t>XXXX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BC84BD9-50D0-9651-5E98-8684C6770A75}"/>
              </a:ext>
            </a:extLst>
          </p:cNvPr>
          <p:cNvSpPr txBox="1"/>
          <p:nvPr/>
        </p:nvSpPr>
        <p:spPr>
          <a:xfrm>
            <a:off x="1022201" y="2875745"/>
            <a:ext cx="2395048" cy="4442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7000"/>
              </a:lnSpc>
              <a:buClr>
                <a:srgbClr val="A19DA2"/>
              </a:buClr>
            </a:pPr>
            <a:r>
              <a:rPr lang="en-US" sz="1400" b="1">
                <a:solidFill>
                  <a:schemeClr val="accent4"/>
                </a:solidFill>
              </a:rPr>
              <a:t>Name Surname</a:t>
            </a:r>
          </a:p>
          <a:p>
            <a:pPr algn="l">
              <a:lnSpc>
                <a:spcPct val="107000"/>
              </a:lnSpc>
              <a:buClr>
                <a:srgbClr val="A19DA2"/>
              </a:buClr>
            </a:pPr>
            <a:r>
              <a:rPr lang="en-US" sz="1400">
                <a:solidFill>
                  <a:schemeClr val="accent4"/>
                </a:solidFill>
              </a:rPr>
              <a:t>Rol/Posi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BAEA118-531C-0090-5A5E-CBF2DD78DA9C}"/>
              </a:ext>
            </a:extLst>
          </p:cNvPr>
          <p:cNvSpPr txBox="1"/>
          <p:nvPr/>
        </p:nvSpPr>
        <p:spPr>
          <a:xfrm>
            <a:off x="6186259" y="2871197"/>
            <a:ext cx="2395048" cy="4442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7000"/>
              </a:lnSpc>
              <a:buClr>
                <a:srgbClr val="A19DA2"/>
              </a:buClr>
            </a:pPr>
            <a:r>
              <a:rPr lang="en-US" sz="1400" b="1">
                <a:solidFill>
                  <a:schemeClr val="accent4"/>
                </a:solidFill>
              </a:rPr>
              <a:t>Name Surname</a:t>
            </a:r>
          </a:p>
          <a:p>
            <a:pPr algn="l">
              <a:lnSpc>
                <a:spcPct val="107000"/>
              </a:lnSpc>
              <a:buClr>
                <a:srgbClr val="A19DA2"/>
              </a:buClr>
            </a:pPr>
            <a:r>
              <a:rPr lang="en-US" sz="1400">
                <a:solidFill>
                  <a:schemeClr val="accent4"/>
                </a:solidFill>
              </a:rPr>
              <a:t>Rol/Posi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CCE7B3F-E071-5DB5-77D7-BB0510A1ADF3}"/>
              </a:ext>
            </a:extLst>
          </p:cNvPr>
          <p:cNvSpPr txBox="1"/>
          <p:nvPr/>
        </p:nvSpPr>
        <p:spPr>
          <a:xfrm>
            <a:off x="4325662" y="5454782"/>
            <a:ext cx="2395048" cy="4442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7000"/>
              </a:lnSpc>
              <a:buClr>
                <a:srgbClr val="A19DA2"/>
              </a:buClr>
            </a:pPr>
            <a:r>
              <a:rPr lang="en-US" sz="1400" b="1">
                <a:solidFill>
                  <a:schemeClr val="accent4"/>
                </a:solidFill>
              </a:rPr>
              <a:t>Name Surname</a:t>
            </a:r>
          </a:p>
          <a:p>
            <a:pPr algn="l">
              <a:lnSpc>
                <a:spcPct val="107000"/>
              </a:lnSpc>
              <a:buClr>
                <a:srgbClr val="A19DA2"/>
              </a:buClr>
            </a:pPr>
            <a:r>
              <a:rPr lang="en-US" sz="1400">
                <a:solidFill>
                  <a:schemeClr val="accent4"/>
                </a:solidFill>
              </a:rPr>
              <a:t>Rol/Posi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2FEFA87-F6D4-96B8-7163-DE073C6E482E}"/>
              </a:ext>
            </a:extLst>
          </p:cNvPr>
          <p:cNvSpPr txBox="1"/>
          <p:nvPr/>
        </p:nvSpPr>
        <p:spPr>
          <a:xfrm>
            <a:off x="9891545" y="5560907"/>
            <a:ext cx="2395048" cy="4442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7000"/>
              </a:lnSpc>
              <a:buClr>
                <a:srgbClr val="A19DA2"/>
              </a:buClr>
            </a:pPr>
            <a:r>
              <a:rPr lang="en-US" sz="1400" b="1">
                <a:solidFill>
                  <a:schemeClr val="accent4"/>
                </a:solidFill>
              </a:rPr>
              <a:t>Name Surname</a:t>
            </a:r>
          </a:p>
          <a:p>
            <a:pPr algn="l">
              <a:lnSpc>
                <a:spcPct val="107000"/>
              </a:lnSpc>
              <a:buClr>
                <a:srgbClr val="A19DA2"/>
              </a:buClr>
            </a:pPr>
            <a:r>
              <a:rPr lang="en-US" sz="1400">
                <a:solidFill>
                  <a:schemeClr val="accent4"/>
                </a:solidFill>
              </a:rPr>
              <a:t>Rol/Position</a:t>
            </a:r>
          </a:p>
        </p:txBody>
      </p:sp>
    </p:spTree>
    <p:extLst>
      <p:ext uri="{BB962C8B-B14F-4D97-AF65-F5344CB8AC3E}">
        <p14:creationId xmlns:p14="http://schemas.microsoft.com/office/powerpoint/2010/main" val="40692804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ACB0F5AB-3822-691E-CC34-DDD63F3F66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7965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B0F5AB-3822-691E-CC34-DDD63F3F66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8051B9FB-A025-EDAA-92D6-4CB7D1B18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34" y="332997"/>
            <a:ext cx="11376025" cy="792538"/>
          </a:xfrm>
        </p:spPr>
        <p:txBody>
          <a:bodyPr vert="horz"/>
          <a:lstStyle/>
          <a:p>
            <a:r>
              <a:rPr lang="en-US" dirty="0"/>
              <a:t>Recommended hilti solutions </a:t>
            </a:r>
            <a:r>
              <a:rPr lang="en-US" altLang="ko-KR" sz="1800" dirty="0">
                <a:solidFill>
                  <a:schemeClr val="accent4"/>
                </a:solidFill>
                <a:cs typeface="Arial" pitchFamily="34" charset="0"/>
              </a:rPr>
              <a:t>digitizing processes</a:t>
            </a:r>
            <a:br>
              <a:rPr lang="en-US" sz="1400" dirty="0"/>
            </a:b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287CC4-8EF8-298E-F4A2-E06F4D84B120}"/>
              </a:ext>
            </a:extLst>
          </p:cNvPr>
          <p:cNvSpPr/>
          <p:nvPr/>
        </p:nvSpPr>
        <p:spPr>
          <a:xfrm>
            <a:off x="412070" y="1125535"/>
            <a:ext cx="3588385" cy="505602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74D1D31C-D8A4-005E-397F-92D7F831BC71}"/>
              </a:ext>
            </a:extLst>
          </p:cNvPr>
          <p:cNvSpPr/>
          <p:nvPr/>
        </p:nvSpPr>
        <p:spPr>
          <a:xfrm rot="5400000">
            <a:off x="418041" y="1126054"/>
            <a:ext cx="1828800" cy="1828800"/>
          </a:xfrm>
          <a:prstGeom prst="rtTriangle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E83E115-823C-5C91-3934-D27B67A15F95}"/>
              </a:ext>
            </a:extLst>
          </p:cNvPr>
          <p:cNvSpPr txBox="1"/>
          <p:nvPr/>
        </p:nvSpPr>
        <p:spPr>
          <a:xfrm>
            <a:off x="402534" y="1125535"/>
            <a:ext cx="219637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b="1">
                <a:solidFill>
                  <a:schemeClr val="accent4"/>
                </a:solidFill>
                <a:cs typeface="Arial" pitchFamily="34" charset="0"/>
              </a:defRPr>
            </a:lvl1pPr>
          </a:lstStyle>
          <a:p>
            <a:r>
              <a:rPr lang="en-US" altLang="ko-KR" sz="1800"/>
              <a:t>Jobsite Management</a:t>
            </a:r>
          </a:p>
        </p:txBody>
      </p:sp>
      <p:pic>
        <p:nvPicPr>
          <p:cNvPr id="11" name="Picture 4" descr="FIELDWIRE Gestão de cumprimento e documentação de obra By Hilti">
            <a:extLst>
              <a:ext uri="{FF2B5EF4-FFF2-40B4-BE49-F238E27FC236}">
                <a16:creationId xmlns:a16="http://schemas.microsoft.com/office/drawing/2014/main" id="{2816586E-5999-CEF8-0F14-0EC144A7AA7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905" b="97619" l="10000" r="91548">
                        <a14:foregroundMark x1="51071" y1="6349" x2="38929" y2="8571"/>
                        <a14:foregroundMark x1="48095" y1="2063" x2="48095" y2="2063"/>
                        <a14:foregroundMark x1="10952" y1="73016" x2="10952" y2="73016"/>
                        <a14:foregroundMark x1="19524" y1="76032" x2="19524" y2="76032"/>
                        <a14:foregroundMark x1="26190" y1="73016" x2="26190" y2="73016"/>
                        <a14:foregroundMark x1="34643" y1="74444" x2="34643" y2="74444"/>
                        <a14:foregroundMark x1="44881" y1="71746" x2="44881" y2="71746"/>
                        <a14:foregroundMark x1="57619" y1="78095" x2="57619" y2="78095"/>
                        <a14:foregroundMark x1="69643" y1="76190" x2="69643" y2="76190"/>
                        <a14:foregroundMark x1="78571" y1="73175" x2="78571" y2="73175"/>
                        <a14:foregroundMark x1="86905" y1="72381" x2="86905" y2="72381"/>
                        <a14:foregroundMark x1="76905" y1="92063" x2="76905" y2="92063"/>
                        <a14:foregroundMark x1="65952" y1="91905" x2="65952" y2="91905"/>
                        <a14:foregroundMark x1="63810" y1="91905" x2="79524" y2="89048"/>
                        <a14:foregroundMark x1="3452" y1="94286" x2="38929" y2="97143"/>
                        <a14:foregroundMark x1="38929" y1="97143" x2="91548" y2="92540"/>
                        <a14:foregroundMark x1="81310" y1="94762" x2="72262" y2="97302"/>
                        <a14:foregroundMark x1="72262" y1="97302" x2="83690" y2="95238"/>
                        <a14:foregroundMark x1="83690" y1="95238" x2="34048" y2="92381"/>
                        <a14:foregroundMark x1="34048" y1="92381" x2="75595" y2="9761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1321"/>
          <a:stretch/>
        </p:blipFill>
        <p:spPr bwMode="auto">
          <a:xfrm>
            <a:off x="3018971" y="1250900"/>
            <a:ext cx="867229" cy="576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1F6E4CD6-7738-E9B7-7FB2-CE13648073F0}"/>
              </a:ext>
            </a:extLst>
          </p:cNvPr>
          <p:cNvSpPr txBox="1"/>
          <p:nvPr/>
        </p:nvSpPr>
        <p:spPr>
          <a:xfrm>
            <a:off x="596920" y="2292223"/>
            <a:ext cx="3159985" cy="17697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400" b="1" dirty="0">
                <a:latin typeface="+mj-lt"/>
              </a:rPr>
              <a:t>Return on investment</a:t>
            </a:r>
          </a:p>
          <a:p>
            <a:pPr marL="0" indent="0">
              <a:buNone/>
            </a:pPr>
            <a:endParaRPr lang="en-US" sz="1100" b="1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current co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investment cost</a:t>
            </a:r>
          </a:p>
          <a:p>
            <a:pPr marL="781035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One-time Fee</a:t>
            </a:r>
            <a:endParaRPr lang="en-US" sz="1200" dirty="0">
              <a:cs typeface="Arial"/>
            </a:endParaRPr>
          </a:p>
          <a:p>
            <a:pPr marL="781035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Annual Fee</a:t>
            </a:r>
            <a:endParaRPr lang="en-US" sz="1200" dirty="0">
              <a:cs typeface="Arial"/>
            </a:endParaRPr>
          </a:p>
          <a:p>
            <a:pPr marL="781035" lvl="1" indent="-171450">
              <a:buFont typeface="Arial" panose="020B0604020202020204" pitchFamily="34" charset="0"/>
              <a:buChar char="•"/>
            </a:pPr>
            <a:endParaRPr lang="en-US" sz="12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future co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potential savings </a:t>
            </a:r>
            <a:endParaRPr lang="en-US" sz="2000" dirty="0">
              <a:latin typeface="+mj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43B9A3-C733-23AF-35A5-91E3188CFE9C}"/>
              </a:ext>
            </a:extLst>
          </p:cNvPr>
          <p:cNvSpPr txBox="1"/>
          <p:nvPr/>
        </p:nvSpPr>
        <p:spPr>
          <a:xfrm>
            <a:off x="9982200" y="109477"/>
            <a:ext cx="2053717" cy="57124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800" dirty="0"/>
              <a:t>Needs data from Excel fi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772D465-57FC-D3BB-C9AA-B8FB9672BC79}"/>
              </a:ext>
            </a:extLst>
          </p:cNvPr>
          <p:cNvSpPr/>
          <p:nvPr/>
        </p:nvSpPr>
        <p:spPr>
          <a:xfrm>
            <a:off x="8190174" y="1125537"/>
            <a:ext cx="3588385" cy="505601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26" name="Right Triangle 25">
            <a:extLst>
              <a:ext uri="{FF2B5EF4-FFF2-40B4-BE49-F238E27FC236}">
                <a16:creationId xmlns:a16="http://schemas.microsoft.com/office/drawing/2014/main" id="{2D184791-84E2-7313-1284-E96770294F82}"/>
              </a:ext>
            </a:extLst>
          </p:cNvPr>
          <p:cNvSpPr/>
          <p:nvPr/>
        </p:nvSpPr>
        <p:spPr>
          <a:xfrm rot="5400000">
            <a:off x="8186287" y="1126055"/>
            <a:ext cx="1828800" cy="1828800"/>
          </a:xfrm>
          <a:prstGeom prst="rtTriangle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33680AB-1F0D-F1E3-D839-F964861EDBF4}"/>
              </a:ext>
            </a:extLst>
          </p:cNvPr>
          <p:cNvSpPr txBox="1"/>
          <p:nvPr/>
        </p:nvSpPr>
        <p:spPr>
          <a:xfrm>
            <a:off x="8172296" y="1118513"/>
            <a:ext cx="358838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b="1">
                <a:solidFill>
                  <a:schemeClr val="accent4"/>
                </a:solidFill>
                <a:cs typeface="Arial" pitchFamily="34" charset="0"/>
              </a:defRPr>
            </a:lvl1pPr>
          </a:lstStyle>
          <a:p>
            <a:r>
              <a:rPr lang="en-US" altLang="ko-KR" sz="1800" dirty="0"/>
              <a:t>Virtual Design &amp; Construction (VDC)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E31BA0E-B354-D2FF-A707-03495648C3F1}"/>
              </a:ext>
            </a:extLst>
          </p:cNvPr>
          <p:cNvSpPr txBox="1"/>
          <p:nvPr/>
        </p:nvSpPr>
        <p:spPr>
          <a:xfrm>
            <a:off x="8275326" y="4346764"/>
            <a:ext cx="3588385" cy="17697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400" b="1" dirty="0">
                <a:latin typeface="+mj-lt"/>
              </a:rPr>
              <a:t>Return on investment</a:t>
            </a:r>
          </a:p>
          <a:p>
            <a:pPr marL="0" indent="0">
              <a:buNone/>
            </a:pPr>
            <a:endParaRPr lang="en-US" sz="1100" b="1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current cos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investment cost:</a:t>
            </a:r>
          </a:p>
          <a:p>
            <a:pPr marL="781035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One-time Fee:</a:t>
            </a:r>
            <a:endParaRPr lang="en-US" sz="1200" dirty="0">
              <a:cs typeface="Arial"/>
            </a:endParaRPr>
          </a:p>
          <a:p>
            <a:pPr marL="781035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Annual Fee:</a:t>
            </a:r>
            <a:endParaRPr lang="en-US" sz="1200" dirty="0">
              <a:cs typeface="Arial"/>
            </a:endParaRPr>
          </a:p>
          <a:p>
            <a:pPr marL="781035" lvl="1" indent="-171450">
              <a:buFont typeface="Arial" panose="020B0604020202020204" pitchFamily="34" charset="0"/>
              <a:buChar char="•"/>
            </a:pPr>
            <a:endParaRPr lang="en-US" sz="12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future cos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potential savings:</a:t>
            </a:r>
            <a:endParaRPr lang="en-US" sz="2000" dirty="0">
              <a:latin typeface="+mj-lt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4C07B45-DA8A-928D-3129-8A472A911DCE}"/>
              </a:ext>
            </a:extLst>
          </p:cNvPr>
          <p:cNvSpPr txBox="1"/>
          <p:nvPr/>
        </p:nvSpPr>
        <p:spPr>
          <a:xfrm>
            <a:off x="8275326" y="1760440"/>
            <a:ext cx="26188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dirty="0">
                <a:latin typeface="+mj-lt"/>
              </a:rPr>
              <a:t>Current Process and Cost </a:t>
            </a:r>
            <a:endParaRPr lang="en-US" sz="1400" b="1" dirty="0"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319699F-6814-B11E-902B-D0D867D30C9E}"/>
              </a:ext>
            </a:extLst>
          </p:cNvPr>
          <p:cNvSpPr txBox="1"/>
          <p:nvPr/>
        </p:nvSpPr>
        <p:spPr>
          <a:xfrm>
            <a:off x="2434720" y="2712009"/>
            <a:ext cx="835165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>
                <a:latin typeface="+mj-lt"/>
              </a:rPr>
              <a:t>CAD 48,500</a:t>
            </a:r>
            <a:endParaRPr lang="en-US" sz="1200" dirty="0"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751B0C-7119-356C-269C-7D978FF0EBE4}"/>
              </a:ext>
            </a:extLst>
          </p:cNvPr>
          <p:cNvSpPr txBox="1"/>
          <p:nvPr/>
        </p:nvSpPr>
        <p:spPr>
          <a:xfrm>
            <a:off x="2438400" y="2896678"/>
            <a:ext cx="835165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>
                <a:latin typeface="+mj-lt"/>
              </a:rPr>
              <a:t>CAD 15,000</a:t>
            </a:r>
            <a:endParaRPr lang="en-US" sz="1200" dirty="0"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1F94270-69D0-0D00-D741-D69C1D947FF8}"/>
              </a:ext>
            </a:extLst>
          </p:cNvPr>
          <p:cNvSpPr txBox="1"/>
          <p:nvPr/>
        </p:nvSpPr>
        <p:spPr>
          <a:xfrm>
            <a:off x="2438400" y="3080581"/>
            <a:ext cx="452047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>
                <a:latin typeface="+mj-lt"/>
              </a:rPr>
              <a:t>CAD 0</a:t>
            </a:r>
            <a:endParaRPr lang="en-US" sz="1200" dirty="0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0E20384-928A-378A-4828-DBD1D82C37BB}"/>
              </a:ext>
            </a:extLst>
          </p:cNvPr>
          <p:cNvSpPr txBox="1"/>
          <p:nvPr/>
        </p:nvSpPr>
        <p:spPr>
          <a:xfrm>
            <a:off x="2438400" y="3264484"/>
            <a:ext cx="835165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>
                <a:latin typeface="+mj-lt"/>
              </a:rPr>
              <a:t>CAD 15,000</a:t>
            </a:r>
            <a:endParaRPr lang="en-US" sz="1200" dirty="0">
              <a:latin typeface="+mj-lt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29C0FC2-FCEA-F3EB-1C77-B38A1C99E6E8}"/>
              </a:ext>
            </a:extLst>
          </p:cNvPr>
          <p:cNvSpPr txBox="1"/>
          <p:nvPr/>
        </p:nvSpPr>
        <p:spPr>
          <a:xfrm>
            <a:off x="2434720" y="3632488"/>
            <a:ext cx="835165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>
                <a:latin typeface="+mj-lt"/>
              </a:rPr>
              <a:t>CAD 17,500</a:t>
            </a:r>
            <a:endParaRPr lang="en-US" sz="1200" dirty="0">
              <a:latin typeface="+mj-lt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977F879-9FB6-A1BA-64F9-C8E469D30034}"/>
              </a:ext>
            </a:extLst>
          </p:cNvPr>
          <p:cNvSpPr txBox="1"/>
          <p:nvPr/>
        </p:nvSpPr>
        <p:spPr>
          <a:xfrm>
            <a:off x="2438400" y="3820677"/>
            <a:ext cx="835165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>
                <a:latin typeface="+mj-lt"/>
              </a:rPr>
              <a:t>CAD 31,000</a:t>
            </a:r>
            <a:endParaRPr lang="en-US" sz="1200" dirty="0">
              <a:latin typeface="+mj-lt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F10E99F-338D-D8D2-4A21-A703BB55663A}"/>
              </a:ext>
            </a:extLst>
          </p:cNvPr>
          <p:cNvSpPr txBox="1"/>
          <p:nvPr/>
        </p:nvSpPr>
        <p:spPr>
          <a:xfrm>
            <a:off x="9495303" y="2526694"/>
            <a:ext cx="835165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>
                <a:latin typeface="+mj-lt"/>
              </a:rPr>
              <a:t>CAD 40,000</a:t>
            </a:r>
            <a:endParaRPr lang="en-US" sz="1200" dirty="0">
              <a:latin typeface="+mj-lt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58B9DC5-0B0A-03C2-A1D7-608632C3C628}"/>
              </a:ext>
            </a:extLst>
          </p:cNvPr>
          <p:cNvSpPr txBox="1"/>
          <p:nvPr/>
        </p:nvSpPr>
        <p:spPr>
          <a:xfrm>
            <a:off x="9495303" y="3074478"/>
            <a:ext cx="835165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>
                <a:latin typeface="+mj-lt"/>
              </a:rPr>
              <a:t>CAD 40,000</a:t>
            </a:r>
            <a:endParaRPr lang="en-US" sz="1200" dirty="0">
              <a:latin typeface="+mj-lt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0380376-B398-B3C5-D0AA-322EA83A4941}"/>
              </a:ext>
            </a:extLst>
          </p:cNvPr>
          <p:cNvSpPr txBox="1"/>
          <p:nvPr/>
        </p:nvSpPr>
        <p:spPr>
          <a:xfrm>
            <a:off x="9495303" y="3635600"/>
            <a:ext cx="835165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>
                <a:latin typeface="+mj-lt"/>
              </a:rPr>
              <a:t>CAD 40,000</a:t>
            </a:r>
            <a:endParaRPr lang="en-US" sz="1200" dirty="0">
              <a:latin typeface="+mj-lt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8266950-8A6B-1FBD-5430-25D121F6A409}"/>
              </a:ext>
            </a:extLst>
          </p:cNvPr>
          <p:cNvSpPr txBox="1"/>
          <p:nvPr/>
        </p:nvSpPr>
        <p:spPr>
          <a:xfrm>
            <a:off x="10287023" y="4791775"/>
            <a:ext cx="920124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/>
              <a:t>CAD 120,000</a:t>
            </a:r>
            <a:endParaRPr lang="en-US" sz="12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CB9C431-57F7-3577-29A8-4588A851E129}"/>
              </a:ext>
            </a:extLst>
          </p:cNvPr>
          <p:cNvSpPr txBox="1"/>
          <p:nvPr/>
        </p:nvSpPr>
        <p:spPr>
          <a:xfrm>
            <a:off x="10287023" y="4962625"/>
            <a:ext cx="750205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/>
              <a:t>CAD 8,777</a:t>
            </a:r>
            <a:endParaRPr lang="en-US" sz="1200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154079C-8C72-A965-C64E-1C8DB156CD4E}"/>
              </a:ext>
            </a:extLst>
          </p:cNvPr>
          <p:cNvSpPr txBox="1"/>
          <p:nvPr/>
        </p:nvSpPr>
        <p:spPr>
          <a:xfrm>
            <a:off x="10287023" y="5152630"/>
            <a:ext cx="621965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/>
              <a:t>CAD 676</a:t>
            </a:r>
            <a:endParaRPr lang="en-US" sz="12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B7077E6-2E13-7B98-8648-2810D690F1A8}"/>
              </a:ext>
            </a:extLst>
          </p:cNvPr>
          <p:cNvSpPr txBox="1"/>
          <p:nvPr/>
        </p:nvSpPr>
        <p:spPr>
          <a:xfrm>
            <a:off x="10287023" y="5352260"/>
            <a:ext cx="835165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/>
              <a:t>CAD 30,000</a:t>
            </a:r>
            <a:endParaRPr lang="en-US" sz="1200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058EB69-82C5-5DE2-153C-E32D365119FA}"/>
              </a:ext>
            </a:extLst>
          </p:cNvPr>
          <p:cNvSpPr txBox="1"/>
          <p:nvPr/>
        </p:nvSpPr>
        <p:spPr>
          <a:xfrm>
            <a:off x="10287023" y="5696170"/>
            <a:ext cx="835165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/>
              <a:t>CAD 10,000</a:t>
            </a:r>
            <a:endParaRPr lang="en-US" sz="12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1680112-EE28-FC93-4E14-817B0D4CE44F}"/>
              </a:ext>
            </a:extLst>
          </p:cNvPr>
          <p:cNvSpPr txBox="1"/>
          <p:nvPr/>
        </p:nvSpPr>
        <p:spPr>
          <a:xfrm>
            <a:off x="10287023" y="5886175"/>
            <a:ext cx="908710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/>
              <a:t>CAD 110,000</a:t>
            </a:r>
            <a:endParaRPr lang="en-US" sz="1200" dirty="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63EA0FF-C432-1643-2305-3A16A510F2F5}"/>
              </a:ext>
            </a:extLst>
          </p:cNvPr>
          <p:cNvSpPr/>
          <p:nvPr/>
        </p:nvSpPr>
        <p:spPr>
          <a:xfrm>
            <a:off x="4301122" y="1125537"/>
            <a:ext cx="3588385" cy="506220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42" name="Right Triangle 41">
            <a:extLst>
              <a:ext uri="{FF2B5EF4-FFF2-40B4-BE49-F238E27FC236}">
                <a16:creationId xmlns:a16="http://schemas.microsoft.com/office/drawing/2014/main" id="{F9B91020-7101-B895-B554-1EE15F189DDA}"/>
              </a:ext>
            </a:extLst>
          </p:cNvPr>
          <p:cNvSpPr/>
          <p:nvPr/>
        </p:nvSpPr>
        <p:spPr>
          <a:xfrm rot="5400000">
            <a:off x="4300445" y="1126056"/>
            <a:ext cx="1828800" cy="1828800"/>
          </a:xfrm>
          <a:prstGeom prst="rtTriangle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A295414-85B4-F5C7-BF87-A2E8DFB4F68E}"/>
              </a:ext>
            </a:extLst>
          </p:cNvPr>
          <p:cNvSpPr txBox="1"/>
          <p:nvPr/>
        </p:nvSpPr>
        <p:spPr>
          <a:xfrm>
            <a:off x="4373836" y="1117992"/>
            <a:ext cx="16238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b="1">
                <a:solidFill>
                  <a:schemeClr val="accent4"/>
                </a:solidFill>
                <a:cs typeface="Arial" pitchFamily="34" charset="0"/>
              </a:defRPr>
            </a:lvl1pPr>
          </a:lstStyle>
          <a:p>
            <a:r>
              <a:rPr lang="en-US" altLang="ko-KR" sz="1800" dirty="0"/>
              <a:t>Resource Management</a:t>
            </a:r>
            <a:endParaRPr lang="ko-KR" altLang="en-US" sz="1800" dirty="0"/>
          </a:p>
        </p:txBody>
      </p:sp>
      <p:pic>
        <p:nvPicPr>
          <p:cNvPr id="52" name="Picture 51">
            <a:hlinkClick r:id="" action="ppaction://noaction"/>
            <a:extLst>
              <a:ext uri="{FF2B5EF4-FFF2-40B4-BE49-F238E27FC236}">
                <a16:creationId xmlns:a16="http://schemas.microsoft.com/office/drawing/2014/main" id="{4F5CD69B-6EC3-1946-F8EB-B878991720B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3235" y="1285536"/>
            <a:ext cx="1648160" cy="221775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F5A10782-2E88-3017-18E9-2642337079C7}"/>
              </a:ext>
            </a:extLst>
          </p:cNvPr>
          <p:cNvSpPr txBox="1"/>
          <p:nvPr/>
        </p:nvSpPr>
        <p:spPr>
          <a:xfrm>
            <a:off x="4419450" y="2102415"/>
            <a:ext cx="2966834" cy="2046714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b="1" dirty="0">
                <a:ea typeface="League Spartan" charset="0"/>
                <a:cs typeface="Poppins" pitchFamily="2" charset="77"/>
              </a:rPr>
              <a:t>Material Cost Optimization</a:t>
            </a:r>
          </a:p>
          <a:p>
            <a:pPr>
              <a:spcBef>
                <a:spcPts val="600"/>
              </a:spcBef>
            </a:pPr>
            <a:r>
              <a:rPr lang="en-US" sz="1100" dirty="0">
                <a:solidFill>
                  <a:schemeClr val="tx1"/>
                </a:solidFill>
                <a:ea typeface="Lato Light" panose="020F0502020204030203" pitchFamily="34" charset="0"/>
                <a:cs typeface="Mukta ExtraLight" panose="020B0000000000000000" pitchFamily="34" charset="77"/>
              </a:rPr>
              <a:t>Current Cost: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b="1" dirty="0">
                <a:ea typeface="League Spartan" charset="0"/>
                <a:cs typeface="Poppins" pitchFamily="2" charset="77"/>
              </a:rPr>
              <a:t>Compliance</a:t>
            </a:r>
            <a:endParaRPr lang="en-US" sz="1100" b="1" dirty="0">
              <a:ea typeface="League Spartan" charset="0"/>
              <a:cs typeface="Poppins" pitchFamily="2" charset="77"/>
            </a:endParaRPr>
          </a:p>
          <a:p>
            <a:pPr>
              <a:spcBef>
                <a:spcPts val="600"/>
              </a:spcBef>
            </a:pPr>
            <a:r>
              <a:rPr lang="en-US" sz="1100" dirty="0">
                <a:solidFill>
                  <a:schemeClr val="tx1"/>
                </a:solidFill>
                <a:ea typeface="Lato Light" panose="020F0502020204030203" pitchFamily="34" charset="0"/>
                <a:cs typeface="Mukta ExtraLight" panose="020B0000000000000000" pitchFamily="34" charset="77"/>
              </a:rPr>
              <a:t>Current Cost: 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b="1" dirty="0">
                <a:ea typeface="League Spartan" charset="0"/>
                <a:cs typeface="Poppins" pitchFamily="2" charset="77"/>
              </a:rPr>
              <a:t>Transparency and Control</a:t>
            </a:r>
          </a:p>
          <a:p>
            <a:pPr>
              <a:spcBef>
                <a:spcPts val="600"/>
              </a:spcBef>
            </a:pPr>
            <a:r>
              <a:rPr lang="en-US" sz="1100" dirty="0">
                <a:solidFill>
                  <a:schemeClr val="tx1"/>
                </a:solidFill>
                <a:ea typeface="Lato Light" panose="020F0502020204030203" pitchFamily="34" charset="0"/>
                <a:cs typeface="Mukta ExtraLight" panose="020B0000000000000000" pitchFamily="34" charset="77"/>
              </a:rPr>
              <a:t>Current Cost: 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b="1" dirty="0">
                <a:ea typeface="League Spartan" charset="0"/>
                <a:cs typeface="Poppins" pitchFamily="2" charset="77"/>
              </a:rPr>
              <a:t>Process Optimization</a:t>
            </a:r>
          </a:p>
          <a:p>
            <a:pPr>
              <a:spcBef>
                <a:spcPts val="600"/>
              </a:spcBef>
            </a:pPr>
            <a:r>
              <a:rPr lang="en-US" sz="1100" dirty="0">
                <a:solidFill>
                  <a:schemeClr val="tx1"/>
                </a:solidFill>
                <a:ea typeface="Lato Light" panose="020F0502020204030203" pitchFamily="34" charset="0"/>
                <a:cs typeface="Mukta ExtraLight" panose="020B0000000000000000" pitchFamily="34" charset="77"/>
              </a:rPr>
              <a:t>Current Cost:</a:t>
            </a:r>
            <a:endParaRPr lang="en-US" sz="1100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3E73759-111B-E650-718C-A0B6DA60B302}"/>
              </a:ext>
            </a:extLst>
          </p:cNvPr>
          <p:cNvSpPr txBox="1"/>
          <p:nvPr/>
        </p:nvSpPr>
        <p:spPr>
          <a:xfrm>
            <a:off x="4462718" y="1752600"/>
            <a:ext cx="26188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dirty="0">
                <a:latin typeface="+mj-lt"/>
              </a:rPr>
              <a:t>Current Process and Cost </a:t>
            </a:r>
            <a:endParaRPr lang="en-US" sz="1400" b="1" dirty="0">
              <a:latin typeface="+mj-lt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804C857-5490-DA44-E0A9-31EF8AE0C65F}"/>
              </a:ext>
            </a:extLst>
          </p:cNvPr>
          <p:cNvSpPr txBox="1"/>
          <p:nvPr/>
        </p:nvSpPr>
        <p:spPr>
          <a:xfrm>
            <a:off x="5586935" y="2362200"/>
            <a:ext cx="601447" cy="2616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US" sz="1100"/>
              <a:t>CAD 0</a:t>
            </a:r>
            <a:endParaRPr lang="en-US" sz="1100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C0C4C29-D911-70EF-BE4E-2322F542AFC9}"/>
              </a:ext>
            </a:extLst>
          </p:cNvPr>
          <p:cNvSpPr txBox="1"/>
          <p:nvPr/>
        </p:nvSpPr>
        <p:spPr>
          <a:xfrm>
            <a:off x="5586935" y="2867158"/>
            <a:ext cx="601447" cy="2616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US" sz="1100"/>
              <a:t>CAD 0</a:t>
            </a:r>
            <a:endParaRPr lang="en-US" sz="11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1183FC6B-16E8-D643-881B-4B59AD97D04D}"/>
              </a:ext>
            </a:extLst>
          </p:cNvPr>
          <p:cNvSpPr txBox="1"/>
          <p:nvPr/>
        </p:nvSpPr>
        <p:spPr>
          <a:xfrm>
            <a:off x="5586935" y="3380056"/>
            <a:ext cx="601447" cy="2616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US" sz="1100"/>
              <a:t>CAD 0</a:t>
            </a:r>
            <a:endParaRPr lang="en-US" sz="1100" dirty="0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062B8FF-2909-8484-67E0-F73DB98E5A3B}"/>
              </a:ext>
            </a:extLst>
          </p:cNvPr>
          <p:cNvSpPr txBox="1"/>
          <p:nvPr/>
        </p:nvSpPr>
        <p:spPr>
          <a:xfrm>
            <a:off x="5586935" y="3880402"/>
            <a:ext cx="601447" cy="2616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US" sz="1100"/>
              <a:t>CAD 0</a:t>
            </a:r>
            <a:endParaRPr lang="en-US" sz="1100" dirty="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17312AC9-7298-8431-C25F-DBCCF6A2CA1E}"/>
              </a:ext>
            </a:extLst>
          </p:cNvPr>
          <p:cNvSpPr txBox="1"/>
          <p:nvPr/>
        </p:nvSpPr>
        <p:spPr>
          <a:xfrm>
            <a:off x="6713698" y="5699371"/>
            <a:ext cx="452047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/>
              <a:t>CAD 0</a:t>
            </a:r>
            <a:endParaRPr lang="en-US" sz="12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B46B7E1-7D30-E60F-3339-2EEF998032C2}"/>
              </a:ext>
            </a:extLst>
          </p:cNvPr>
          <p:cNvSpPr txBox="1"/>
          <p:nvPr/>
        </p:nvSpPr>
        <p:spPr>
          <a:xfrm>
            <a:off x="6713698" y="5886507"/>
            <a:ext cx="452047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/>
              <a:t>CAD 0</a:t>
            </a:r>
            <a:endParaRPr lang="en-US" sz="12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8A077B9-6B39-7289-4B20-296BD1837F28}"/>
              </a:ext>
            </a:extLst>
          </p:cNvPr>
          <p:cNvSpPr txBox="1"/>
          <p:nvPr/>
        </p:nvSpPr>
        <p:spPr>
          <a:xfrm>
            <a:off x="6713698" y="4783453"/>
            <a:ext cx="452047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/>
              <a:t>CAD 0</a:t>
            </a:r>
            <a:endParaRPr lang="en-US" sz="12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95BB6F4-64AE-568E-8628-F54757819BBF}"/>
              </a:ext>
            </a:extLst>
          </p:cNvPr>
          <p:cNvSpPr txBox="1"/>
          <p:nvPr/>
        </p:nvSpPr>
        <p:spPr>
          <a:xfrm>
            <a:off x="6713698" y="4972084"/>
            <a:ext cx="750205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/>
              <a:t>CAD 7,020</a:t>
            </a:r>
            <a:endParaRPr lang="en-US" sz="1200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1860A6C-E629-303A-2B10-F0D617EAC914}"/>
              </a:ext>
            </a:extLst>
          </p:cNvPr>
          <p:cNvSpPr txBox="1"/>
          <p:nvPr/>
        </p:nvSpPr>
        <p:spPr>
          <a:xfrm>
            <a:off x="6713698" y="5149587"/>
            <a:ext cx="468077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/>
              <a:t>CAD 0</a:t>
            </a:r>
            <a:endParaRPr lang="en-US" sz="12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A2DC0B4-32ED-C9DB-7BA5-DA668E44C17E}"/>
              </a:ext>
            </a:extLst>
          </p:cNvPr>
          <p:cNvSpPr txBox="1"/>
          <p:nvPr/>
        </p:nvSpPr>
        <p:spPr>
          <a:xfrm>
            <a:off x="6718429" y="5328321"/>
            <a:ext cx="750205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/>
              <a:t>CAD 7,020</a:t>
            </a:r>
            <a:endParaRPr lang="en-US" sz="12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803D473-1B9B-DE84-8685-4BFCB480BB17}"/>
              </a:ext>
            </a:extLst>
          </p:cNvPr>
          <p:cNvSpPr txBox="1"/>
          <p:nvPr/>
        </p:nvSpPr>
        <p:spPr>
          <a:xfrm>
            <a:off x="4439290" y="4128457"/>
            <a:ext cx="2147430" cy="1985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endParaRPr lang="en-US" sz="1400" b="1" dirty="0"/>
          </a:p>
          <a:p>
            <a:pPr marL="0" indent="0">
              <a:buNone/>
            </a:pPr>
            <a:r>
              <a:rPr lang="en-US" sz="1400" b="1" dirty="0"/>
              <a:t>Return on investment</a:t>
            </a:r>
          </a:p>
          <a:p>
            <a:pPr marL="0" indent="0">
              <a:buNone/>
            </a:pPr>
            <a:endParaRPr lang="en-US" sz="11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Total current cos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Total investment cost:</a:t>
            </a:r>
          </a:p>
          <a:p>
            <a:pPr marL="781035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One-time Fee:</a:t>
            </a:r>
            <a:endParaRPr lang="en-US" sz="1200" dirty="0">
              <a:cs typeface="Arial"/>
            </a:endParaRPr>
          </a:p>
          <a:p>
            <a:pPr marL="781035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Annual Fee:</a:t>
            </a:r>
            <a:endParaRPr lang="en-US" sz="1200" dirty="0">
              <a:cs typeface="Arial"/>
            </a:endParaRPr>
          </a:p>
          <a:p>
            <a:pPr marL="781035" lvl="1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Total future cos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Total potential savings:</a:t>
            </a:r>
            <a:endParaRPr lang="en-US" sz="1200" b="1" dirty="0">
              <a:ea typeface="League Spartan" charset="0"/>
              <a:cs typeface="Poppins" pitchFamily="2" charset="77"/>
            </a:endParaRPr>
          </a:p>
        </p:txBody>
      </p:sp>
      <p:sp>
        <p:nvSpPr>
          <p:cNvPr id="69" name="Footer Placeholder 68">
            <a:extLst>
              <a:ext uri="{FF2B5EF4-FFF2-40B4-BE49-F238E27FC236}">
                <a16:creationId xmlns:a16="http://schemas.microsoft.com/office/drawing/2014/main" id="{ACCA1A71-F87B-788D-ACFB-7B129D399B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xecutive Summary</a:t>
            </a:r>
            <a:endParaRPr lang="en-US" noProof="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A727A0-D2C7-3D7D-FFDA-A53A44054DE3}"/>
              </a:ext>
            </a:extLst>
          </p:cNvPr>
          <p:cNvSpPr txBox="1"/>
          <p:nvPr/>
        </p:nvSpPr>
        <p:spPr>
          <a:xfrm>
            <a:off x="8384129" y="2125064"/>
            <a:ext cx="3389829" cy="1892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en-US" sz="1200" b="1">
                <a:latin typeface="+mj-lt"/>
              </a:rPr>
              <a:t>VDC Proc 1</a:t>
            </a:r>
            <a:endParaRPr lang="en-US" sz="1200" b="1" dirty="0">
              <a:latin typeface="+mj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F7F52C3-D5DE-A288-31C5-734F0EE162DE}"/>
              </a:ext>
            </a:extLst>
          </p:cNvPr>
          <p:cNvSpPr txBox="1"/>
          <p:nvPr/>
        </p:nvSpPr>
        <p:spPr>
          <a:xfrm>
            <a:off x="8384834" y="2712238"/>
            <a:ext cx="33891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b="1">
                <a:latin typeface="Arial (Headings)"/>
              </a:rPr>
              <a:t>VDC proc 2</a:t>
            </a:r>
            <a:endParaRPr lang="en-US" sz="1200" b="1" dirty="0">
              <a:latin typeface="Arial (Headings)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54E405-8932-7D6B-0066-D45350AA82D1}"/>
              </a:ext>
            </a:extLst>
          </p:cNvPr>
          <p:cNvSpPr txBox="1"/>
          <p:nvPr/>
        </p:nvSpPr>
        <p:spPr>
          <a:xfrm>
            <a:off x="8384130" y="3269346"/>
            <a:ext cx="33891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b="1">
                <a:latin typeface="Arial (Headings)"/>
              </a:rPr>
              <a:t>VDC Proc 3</a:t>
            </a:r>
            <a:endParaRPr lang="en-US" sz="1200" b="1" dirty="0">
              <a:latin typeface="Arial (Headings)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E85AA28-F7A9-2888-8A4E-23F3367B3883}"/>
              </a:ext>
            </a:extLst>
          </p:cNvPr>
          <p:cNvSpPr txBox="1"/>
          <p:nvPr/>
        </p:nvSpPr>
        <p:spPr>
          <a:xfrm>
            <a:off x="8019042" y="2302704"/>
            <a:ext cx="3754917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48350" lvl="1" indent="-171450">
              <a:buFont typeface="Arial" panose="020B0604020202020204" pitchFamily="34" charset="0"/>
              <a:buChar char="•"/>
            </a:pPr>
            <a:endParaRPr lang="en-US" sz="1200" b="1" dirty="0">
              <a:latin typeface="+mj-lt"/>
            </a:endParaRPr>
          </a:p>
          <a:p>
            <a:pPr marL="276900" lvl="1" indent="0">
              <a:buNone/>
            </a:pPr>
            <a:r>
              <a:rPr lang="en-US" sz="1200" dirty="0">
                <a:latin typeface="+mj-lt"/>
              </a:rPr>
              <a:t>Total savings:</a:t>
            </a:r>
          </a:p>
          <a:p>
            <a:pPr marL="276900" lvl="1" indent="0">
              <a:buNone/>
            </a:pPr>
            <a:endParaRPr lang="en-US" sz="1200" dirty="0">
              <a:latin typeface="+mj-lt"/>
            </a:endParaRPr>
          </a:p>
          <a:p>
            <a:pPr marL="448350" lvl="1" indent="-171450">
              <a:buFont typeface="Arial" panose="020B0604020202020204" pitchFamily="34" charset="0"/>
              <a:buChar char="•"/>
            </a:pPr>
            <a:endParaRPr lang="en-US" sz="1200" b="1" dirty="0">
              <a:latin typeface="+mj-lt"/>
            </a:endParaRPr>
          </a:p>
          <a:p>
            <a:pPr marL="276900" lvl="1" indent="0">
              <a:buNone/>
            </a:pPr>
            <a:r>
              <a:rPr lang="en-US" sz="1200" dirty="0">
                <a:latin typeface="+mj-lt"/>
              </a:rPr>
              <a:t>Total savings: </a:t>
            </a:r>
          </a:p>
          <a:p>
            <a:pPr marL="276900" lvl="1" indent="0">
              <a:buNone/>
            </a:pPr>
            <a:endParaRPr lang="en-US" sz="1200" dirty="0">
              <a:latin typeface="+mj-lt"/>
            </a:endParaRPr>
          </a:p>
          <a:p>
            <a:pPr marL="448350" lvl="1" indent="-171450">
              <a:buFont typeface="Arial" panose="020B0604020202020204" pitchFamily="34" charset="0"/>
              <a:buChar char="•"/>
            </a:pPr>
            <a:endParaRPr lang="en-US" sz="1200" b="1" dirty="0">
              <a:latin typeface="+mj-lt"/>
            </a:endParaRPr>
          </a:p>
          <a:p>
            <a:pPr marL="276900" lvl="1" indent="0">
              <a:buNone/>
            </a:pPr>
            <a:r>
              <a:rPr lang="en-US" sz="1200" dirty="0">
                <a:latin typeface="+mj-lt"/>
              </a:rPr>
              <a:t>Total savings:	 	</a:t>
            </a:r>
            <a:endParaRPr lang="en-US" sz="11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764984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think-cell data - do not delete" hidden="1">
            <a:extLst>
              <a:ext uri="{FF2B5EF4-FFF2-40B4-BE49-F238E27FC236}">
                <a16:creationId xmlns:a16="http://schemas.microsoft.com/office/drawing/2014/main" id="{1A98382F-BA57-9D7B-D392-E53884A3D9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6485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4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98382F-BA57-9D7B-D392-E53884A3D9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8051B9FB-A025-EDAA-92D6-4CB7D1B18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34" y="332997"/>
            <a:ext cx="11376025" cy="792538"/>
          </a:xfrm>
        </p:spPr>
        <p:txBody>
          <a:bodyPr vert="horz"/>
          <a:lstStyle/>
          <a:p>
            <a:r>
              <a:rPr lang="en-US" dirty="0"/>
              <a:t>Recommended hilti solutions </a:t>
            </a:r>
            <a:r>
              <a:rPr lang="en-US" altLang="ko-KR" sz="1800" dirty="0">
                <a:solidFill>
                  <a:schemeClr val="accent4"/>
                </a:solidFill>
                <a:cs typeface="Arial" pitchFamily="34" charset="0"/>
              </a:rPr>
              <a:t>digitizing processes</a:t>
            </a:r>
            <a:br>
              <a:rPr lang="en-US" sz="1400" dirty="0"/>
            </a:b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287CC4-8EF8-298E-F4A2-E06F4D84B120}"/>
              </a:ext>
            </a:extLst>
          </p:cNvPr>
          <p:cNvSpPr/>
          <p:nvPr/>
        </p:nvSpPr>
        <p:spPr>
          <a:xfrm>
            <a:off x="412070" y="1125535"/>
            <a:ext cx="3588385" cy="505602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E83E115-823C-5C91-3934-D27B67A15F95}"/>
              </a:ext>
            </a:extLst>
          </p:cNvPr>
          <p:cNvSpPr txBox="1"/>
          <p:nvPr/>
        </p:nvSpPr>
        <p:spPr>
          <a:xfrm>
            <a:off x="383195" y="1125535"/>
            <a:ext cx="219637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b="1">
                <a:solidFill>
                  <a:schemeClr val="accent4"/>
                </a:solidFill>
                <a:cs typeface="Arial" pitchFamily="34" charset="0"/>
              </a:defRPr>
            </a:lvl1pPr>
          </a:lstStyle>
          <a:p>
            <a:r>
              <a:rPr lang="en-US" altLang="ko-KR" sz="1800"/>
              <a:t>Benefits</a:t>
            </a:r>
          </a:p>
          <a:p>
            <a:r>
              <a:rPr lang="en-US" altLang="ko-KR" sz="1200" b="0"/>
              <a:t>Jobsite Management</a:t>
            </a:r>
          </a:p>
          <a:p>
            <a:r>
              <a:rPr lang="en-US" altLang="ko-KR" sz="1800"/>
              <a:t> </a:t>
            </a:r>
          </a:p>
        </p:txBody>
      </p:sp>
      <p:pic>
        <p:nvPicPr>
          <p:cNvPr id="11" name="Picture 4" descr="FIELDWIRE Gestão de cumprimento e documentação de obra By Hilti">
            <a:extLst>
              <a:ext uri="{FF2B5EF4-FFF2-40B4-BE49-F238E27FC236}">
                <a16:creationId xmlns:a16="http://schemas.microsoft.com/office/drawing/2014/main" id="{2816586E-5999-CEF8-0F14-0EC144A7AA7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905" b="97619" l="10000" r="91548">
                        <a14:foregroundMark x1="51071" y1="6349" x2="38929" y2="8571"/>
                        <a14:foregroundMark x1="48095" y1="2063" x2="48095" y2="2063"/>
                        <a14:foregroundMark x1="10952" y1="73016" x2="10952" y2="73016"/>
                        <a14:foregroundMark x1="19524" y1="76032" x2="19524" y2="76032"/>
                        <a14:foregroundMark x1="26190" y1="73016" x2="26190" y2="73016"/>
                        <a14:foregroundMark x1="34643" y1="74444" x2="34643" y2="74444"/>
                        <a14:foregroundMark x1="44881" y1="71746" x2="44881" y2="71746"/>
                        <a14:foregroundMark x1="57619" y1="78095" x2="57619" y2="78095"/>
                        <a14:foregroundMark x1="69643" y1="76190" x2="69643" y2="76190"/>
                        <a14:foregroundMark x1="78571" y1="73175" x2="78571" y2="73175"/>
                        <a14:foregroundMark x1="86905" y1="72381" x2="86905" y2="72381"/>
                        <a14:foregroundMark x1="76905" y1="92063" x2="76905" y2="92063"/>
                        <a14:foregroundMark x1="65952" y1="91905" x2="65952" y2="91905"/>
                        <a14:foregroundMark x1="63810" y1="91905" x2="79524" y2="89048"/>
                        <a14:foregroundMark x1="3452" y1="94286" x2="38929" y2="97143"/>
                        <a14:foregroundMark x1="38929" y1="97143" x2="91548" y2="92540"/>
                        <a14:foregroundMark x1="81310" y1="94762" x2="72262" y2="97302"/>
                        <a14:foregroundMark x1="72262" y1="97302" x2="83690" y2="95238"/>
                        <a14:foregroundMark x1="83690" y1="95238" x2="34048" y2="92381"/>
                        <a14:foregroundMark x1="34048" y1="92381" x2="75595" y2="9761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1321"/>
          <a:stretch/>
        </p:blipFill>
        <p:spPr bwMode="auto">
          <a:xfrm>
            <a:off x="2998335" y="5444070"/>
            <a:ext cx="867229" cy="576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0B0F840-D159-2069-49BE-6D80BB532466}"/>
              </a:ext>
            </a:extLst>
          </p:cNvPr>
          <p:cNvSpPr txBox="1"/>
          <p:nvPr/>
        </p:nvSpPr>
        <p:spPr>
          <a:xfrm>
            <a:off x="836327" y="2801642"/>
            <a:ext cx="2667000" cy="1554272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Up-to-date information like blueprints, files and tasks directly on mobile device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Effective collaboration for</a:t>
            </a:r>
          </a:p>
          <a:p>
            <a:pPr marL="781035" lvl="1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plan viewing</a:t>
            </a:r>
          </a:p>
          <a:p>
            <a:pPr marL="781035" lvl="1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versioning</a:t>
            </a:r>
          </a:p>
          <a:p>
            <a:pPr marL="781035" lvl="1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issue tracking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Task management &amp; scheduling</a:t>
            </a:r>
            <a:endParaRPr lang="en-US" sz="10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39B8BBA-6D67-3D00-295A-4A7B303AF9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xecutive Summary</a:t>
            </a:r>
            <a:endParaRPr lang="en-US" noProof="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43A9A03-B84C-2336-7CB5-595ECCF65ED5}"/>
              </a:ext>
            </a:extLst>
          </p:cNvPr>
          <p:cNvSpPr txBox="1"/>
          <p:nvPr/>
        </p:nvSpPr>
        <p:spPr>
          <a:xfrm>
            <a:off x="9982200" y="109477"/>
            <a:ext cx="2053717" cy="57124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800" dirty="0"/>
              <a:t>Needs data from Excel fi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965ABCE-459D-9C8D-5387-9ABC3EAACFE2}"/>
              </a:ext>
            </a:extLst>
          </p:cNvPr>
          <p:cNvSpPr txBox="1"/>
          <p:nvPr/>
        </p:nvSpPr>
        <p:spPr>
          <a:xfrm>
            <a:off x="2952952" y="1171246"/>
            <a:ext cx="104682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en-US" sz="1600" b="1" dirty="0">
                <a:solidFill>
                  <a:schemeClr val="accent1"/>
                </a:solidFill>
              </a:rPr>
              <a:t>ROI</a:t>
            </a:r>
            <a:endParaRPr lang="en-US" sz="12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A3E779-F382-FA0F-B856-E33669F23354}"/>
              </a:ext>
            </a:extLst>
          </p:cNvPr>
          <p:cNvSpPr txBox="1"/>
          <p:nvPr/>
        </p:nvSpPr>
        <p:spPr>
          <a:xfrm>
            <a:off x="2047311" y="1171246"/>
            <a:ext cx="1311578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accent1"/>
                </a:solidFill>
              </a:rPr>
              <a:t>CAD 16,000</a:t>
            </a:r>
            <a:endParaRPr lang="en-US" sz="1200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DD731F4-9C37-DCF6-AE10-1D402D57308A}"/>
              </a:ext>
            </a:extLst>
          </p:cNvPr>
          <p:cNvSpPr/>
          <p:nvPr/>
        </p:nvSpPr>
        <p:spPr>
          <a:xfrm>
            <a:off x="8190174" y="1125537"/>
            <a:ext cx="3588385" cy="505601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57" name="Right Triangle 56">
            <a:extLst>
              <a:ext uri="{FF2B5EF4-FFF2-40B4-BE49-F238E27FC236}">
                <a16:creationId xmlns:a16="http://schemas.microsoft.com/office/drawing/2014/main" id="{C3A492A1-0C15-6FFB-7438-9CAC121EF500}"/>
              </a:ext>
            </a:extLst>
          </p:cNvPr>
          <p:cNvSpPr/>
          <p:nvPr/>
        </p:nvSpPr>
        <p:spPr>
          <a:xfrm rot="5400000">
            <a:off x="8186287" y="1126055"/>
            <a:ext cx="1828800" cy="1828800"/>
          </a:xfrm>
          <a:prstGeom prst="rtTriangle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52D9DD1-8ED5-82C3-6A43-57D881A5F3A0}"/>
              </a:ext>
            </a:extLst>
          </p:cNvPr>
          <p:cNvSpPr txBox="1"/>
          <p:nvPr/>
        </p:nvSpPr>
        <p:spPr>
          <a:xfrm>
            <a:off x="8172297" y="1118513"/>
            <a:ext cx="358838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b="1">
                <a:solidFill>
                  <a:schemeClr val="accent4"/>
                </a:solidFill>
                <a:cs typeface="Arial" pitchFamily="34" charset="0"/>
              </a:defRPr>
            </a:lvl1pPr>
          </a:lstStyle>
          <a:p>
            <a:r>
              <a:rPr lang="en-US" altLang="ko-KR" sz="1800" dirty="0"/>
              <a:t>Virtual Design &amp; Construction (VDC) </a:t>
            </a:r>
          </a:p>
          <a:p>
            <a:endParaRPr lang="en-US" altLang="ko-KR" sz="18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C9E9E0CF-291C-423E-2E17-963C03229B0E}"/>
              </a:ext>
            </a:extLst>
          </p:cNvPr>
          <p:cNvSpPr txBox="1"/>
          <p:nvPr/>
        </p:nvSpPr>
        <p:spPr>
          <a:xfrm>
            <a:off x="8275326" y="4346764"/>
            <a:ext cx="3588385" cy="17697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400" b="1" dirty="0">
                <a:latin typeface="+mj-lt"/>
              </a:rPr>
              <a:t>Return on investment</a:t>
            </a:r>
          </a:p>
          <a:p>
            <a:pPr marL="0" indent="0">
              <a:buNone/>
            </a:pPr>
            <a:endParaRPr lang="en-US" sz="1100" b="1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current cos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investment cost:</a:t>
            </a:r>
          </a:p>
          <a:p>
            <a:pPr marL="781035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One-time Fee:</a:t>
            </a:r>
            <a:endParaRPr lang="en-US" sz="1200" dirty="0">
              <a:cs typeface="Arial"/>
            </a:endParaRPr>
          </a:p>
          <a:p>
            <a:pPr marL="781035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Annual Fee:</a:t>
            </a:r>
            <a:endParaRPr lang="en-US" sz="1200" dirty="0">
              <a:cs typeface="Arial"/>
            </a:endParaRPr>
          </a:p>
          <a:p>
            <a:pPr marL="781035" lvl="1" indent="-171450">
              <a:buFont typeface="Arial" panose="020B0604020202020204" pitchFamily="34" charset="0"/>
              <a:buChar char="•"/>
            </a:pPr>
            <a:endParaRPr lang="en-US" sz="12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future cos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potential savings:</a:t>
            </a:r>
            <a:endParaRPr lang="en-US" sz="2000" dirty="0">
              <a:latin typeface="+mj-lt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AA95EC83-F391-0AFE-2750-D7039563F209}"/>
              </a:ext>
            </a:extLst>
          </p:cNvPr>
          <p:cNvSpPr txBox="1"/>
          <p:nvPr/>
        </p:nvSpPr>
        <p:spPr>
          <a:xfrm>
            <a:off x="10287023" y="4791775"/>
            <a:ext cx="920124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/>
              <a:t>CAD 120,000</a:t>
            </a:r>
            <a:endParaRPr lang="en-US" sz="1200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94F7275-EAE1-5864-FEB4-E2C5CFCECC1E}"/>
              </a:ext>
            </a:extLst>
          </p:cNvPr>
          <p:cNvSpPr txBox="1"/>
          <p:nvPr/>
        </p:nvSpPr>
        <p:spPr>
          <a:xfrm>
            <a:off x="10287023" y="4962625"/>
            <a:ext cx="750205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/>
              <a:t>CAD 8,777</a:t>
            </a:r>
            <a:endParaRPr lang="en-US" sz="12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3C3A7A3-10AE-11E9-654E-14A5AB287484}"/>
              </a:ext>
            </a:extLst>
          </p:cNvPr>
          <p:cNvSpPr txBox="1"/>
          <p:nvPr/>
        </p:nvSpPr>
        <p:spPr>
          <a:xfrm>
            <a:off x="10287023" y="5152630"/>
            <a:ext cx="621965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/>
              <a:t>CAD 676</a:t>
            </a:r>
            <a:endParaRPr lang="en-US" sz="1200" dirty="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F1EA9095-B2DA-6B21-1ED0-02C74C5BBA9D}"/>
              </a:ext>
            </a:extLst>
          </p:cNvPr>
          <p:cNvSpPr txBox="1"/>
          <p:nvPr/>
        </p:nvSpPr>
        <p:spPr>
          <a:xfrm>
            <a:off x="10287023" y="5352260"/>
            <a:ext cx="835165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/>
              <a:t>CAD 30,000</a:t>
            </a:r>
            <a:endParaRPr lang="en-US" sz="12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70A4D77-2096-1287-8049-CD8B04A7340D}"/>
              </a:ext>
            </a:extLst>
          </p:cNvPr>
          <p:cNvSpPr txBox="1"/>
          <p:nvPr/>
        </p:nvSpPr>
        <p:spPr>
          <a:xfrm>
            <a:off x="10287023" y="5696170"/>
            <a:ext cx="835165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/>
              <a:t>CAD 10,000</a:t>
            </a:r>
            <a:endParaRPr lang="en-US" sz="1200" dirty="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38B58CCC-DFFD-9089-1C0A-C9DD47A6AA57}"/>
              </a:ext>
            </a:extLst>
          </p:cNvPr>
          <p:cNvSpPr txBox="1"/>
          <p:nvPr/>
        </p:nvSpPr>
        <p:spPr>
          <a:xfrm>
            <a:off x="10287023" y="5886175"/>
            <a:ext cx="908710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/>
              <a:t>CAD 110,000</a:t>
            </a:r>
            <a:endParaRPr lang="en-US" sz="1200" dirty="0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C36A5BBD-8A09-CB7F-1518-EADF9D42128B}"/>
              </a:ext>
            </a:extLst>
          </p:cNvPr>
          <p:cNvSpPr/>
          <p:nvPr/>
        </p:nvSpPr>
        <p:spPr>
          <a:xfrm>
            <a:off x="4301122" y="1125537"/>
            <a:ext cx="3588385" cy="506220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72" name="Right Triangle 71">
            <a:extLst>
              <a:ext uri="{FF2B5EF4-FFF2-40B4-BE49-F238E27FC236}">
                <a16:creationId xmlns:a16="http://schemas.microsoft.com/office/drawing/2014/main" id="{906E0618-E771-3A52-492F-9D1DB24C060D}"/>
              </a:ext>
            </a:extLst>
          </p:cNvPr>
          <p:cNvSpPr/>
          <p:nvPr/>
        </p:nvSpPr>
        <p:spPr>
          <a:xfrm rot="5400000">
            <a:off x="4300445" y="1126056"/>
            <a:ext cx="1828800" cy="1828800"/>
          </a:xfrm>
          <a:prstGeom prst="rtTriangle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991222A-7E11-3235-CB54-C53667CE9430}"/>
              </a:ext>
            </a:extLst>
          </p:cNvPr>
          <p:cNvSpPr txBox="1"/>
          <p:nvPr/>
        </p:nvSpPr>
        <p:spPr>
          <a:xfrm>
            <a:off x="4373836" y="1117992"/>
            <a:ext cx="16238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b="1">
                <a:solidFill>
                  <a:schemeClr val="accent4"/>
                </a:solidFill>
                <a:cs typeface="Arial" pitchFamily="34" charset="0"/>
              </a:defRPr>
            </a:lvl1pPr>
          </a:lstStyle>
          <a:p>
            <a:r>
              <a:rPr lang="en-US" altLang="ko-KR" sz="1800" dirty="0"/>
              <a:t>Resource Management</a:t>
            </a:r>
            <a:endParaRPr lang="ko-KR" altLang="en-US" sz="1800" dirty="0"/>
          </a:p>
        </p:txBody>
      </p:sp>
      <p:pic>
        <p:nvPicPr>
          <p:cNvPr id="74" name="Picture 73">
            <a:hlinkClick r:id="" action="ppaction://noaction"/>
            <a:extLst>
              <a:ext uri="{FF2B5EF4-FFF2-40B4-BE49-F238E27FC236}">
                <a16:creationId xmlns:a16="http://schemas.microsoft.com/office/drawing/2014/main" id="{62EC8497-97EB-6038-7F14-29C085E5004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3235" y="1285536"/>
            <a:ext cx="1648160" cy="221775"/>
          </a:xfrm>
          <a:prstGeom prst="rect">
            <a:avLst/>
          </a:prstGeom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0DB3A18F-0C01-BA92-9C69-B1DF95BC6124}"/>
              </a:ext>
            </a:extLst>
          </p:cNvPr>
          <p:cNvSpPr txBox="1"/>
          <p:nvPr/>
        </p:nvSpPr>
        <p:spPr>
          <a:xfrm>
            <a:off x="4419450" y="2102415"/>
            <a:ext cx="2966834" cy="2046714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b="1" dirty="0">
                <a:ea typeface="League Spartan" charset="0"/>
                <a:cs typeface="Poppins" pitchFamily="2" charset="77"/>
              </a:rPr>
              <a:t>Material Cost Optimization</a:t>
            </a:r>
          </a:p>
          <a:p>
            <a:pPr>
              <a:spcBef>
                <a:spcPts val="600"/>
              </a:spcBef>
            </a:pPr>
            <a:r>
              <a:rPr lang="en-US" sz="1100" dirty="0">
                <a:solidFill>
                  <a:schemeClr val="tx1"/>
                </a:solidFill>
                <a:ea typeface="Lato Light" panose="020F0502020204030203" pitchFamily="34" charset="0"/>
                <a:cs typeface="Mukta ExtraLight" panose="020B0000000000000000" pitchFamily="34" charset="77"/>
              </a:rPr>
              <a:t>Current Cost: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b="1" dirty="0">
                <a:ea typeface="League Spartan" charset="0"/>
                <a:cs typeface="Poppins" pitchFamily="2" charset="77"/>
              </a:rPr>
              <a:t>Compliance</a:t>
            </a:r>
            <a:endParaRPr lang="en-US" sz="1100" b="1" dirty="0">
              <a:ea typeface="League Spartan" charset="0"/>
              <a:cs typeface="Poppins" pitchFamily="2" charset="77"/>
            </a:endParaRPr>
          </a:p>
          <a:p>
            <a:pPr>
              <a:spcBef>
                <a:spcPts val="600"/>
              </a:spcBef>
            </a:pPr>
            <a:r>
              <a:rPr lang="en-US" sz="1100" dirty="0">
                <a:solidFill>
                  <a:schemeClr val="tx1"/>
                </a:solidFill>
                <a:ea typeface="Lato Light" panose="020F0502020204030203" pitchFamily="34" charset="0"/>
                <a:cs typeface="Mukta ExtraLight" panose="020B0000000000000000" pitchFamily="34" charset="77"/>
              </a:rPr>
              <a:t>Current Cost: 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b="1" dirty="0">
                <a:ea typeface="League Spartan" charset="0"/>
                <a:cs typeface="Poppins" pitchFamily="2" charset="77"/>
              </a:rPr>
              <a:t>Transparency and Control</a:t>
            </a:r>
          </a:p>
          <a:p>
            <a:pPr>
              <a:spcBef>
                <a:spcPts val="600"/>
              </a:spcBef>
            </a:pPr>
            <a:r>
              <a:rPr lang="en-US" sz="1100" dirty="0">
                <a:solidFill>
                  <a:schemeClr val="tx1"/>
                </a:solidFill>
                <a:ea typeface="Lato Light" panose="020F0502020204030203" pitchFamily="34" charset="0"/>
                <a:cs typeface="Mukta ExtraLight" panose="020B0000000000000000" pitchFamily="34" charset="77"/>
              </a:rPr>
              <a:t>Current Cost: 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b="1" dirty="0">
                <a:ea typeface="League Spartan" charset="0"/>
                <a:cs typeface="Poppins" pitchFamily="2" charset="77"/>
              </a:rPr>
              <a:t>Process Optimization</a:t>
            </a:r>
          </a:p>
          <a:p>
            <a:pPr>
              <a:spcBef>
                <a:spcPts val="600"/>
              </a:spcBef>
            </a:pPr>
            <a:r>
              <a:rPr lang="en-US" sz="1100" dirty="0">
                <a:solidFill>
                  <a:schemeClr val="tx1"/>
                </a:solidFill>
                <a:ea typeface="Lato Light" panose="020F0502020204030203" pitchFamily="34" charset="0"/>
                <a:cs typeface="Mukta ExtraLight" panose="020B0000000000000000" pitchFamily="34" charset="77"/>
              </a:rPr>
              <a:t>Current Cost:</a:t>
            </a:r>
            <a:endParaRPr lang="en-US" sz="1100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651245EA-7E62-49C0-1058-158C9C3D2EB5}"/>
              </a:ext>
            </a:extLst>
          </p:cNvPr>
          <p:cNvSpPr txBox="1"/>
          <p:nvPr/>
        </p:nvSpPr>
        <p:spPr>
          <a:xfrm>
            <a:off x="4462718" y="1752600"/>
            <a:ext cx="26188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dirty="0">
                <a:latin typeface="+mj-lt"/>
              </a:rPr>
              <a:t>Current Process and Cost </a:t>
            </a:r>
            <a:endParaRPr lang="en-US" sz="1400" b="1" dirty="0">
              <a:latin typeface="+mj-lt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534BC118-ABE8-5629-9D8E-25C8D87F6216}"/>
              </a:ext>
            </a:extLst>
          </p:cNvPr>
          <p:cNvSpPr txBox="1"/>
          <p:nvPr/>
        </p:nvSpPr>
        <p:spPr>
          <a:xfrm>
            <a:off x="5598007" y="2362200"/>
            <a:ext cx="601447" cy="2616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US" sz="1100"/>
              <a:t>CAD 0</a:t>
            </a:r>
            <a:endParaRPr lang="en-US" sz="1100" dirty="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5C264F99-90F8-3594-059E-BC2BE7DE7534}"/>
              </a:ext>
            </a:extLst>
          </p:cNvPr>
          <p:cNvSpPr txBox="1"/>
          <p:nvPr/>
        </p:nvSpPr>
        <p:spPr>
          <a:xfrm>
            <a:off x="5598007" y="2867158"/>
            <a:ext cx="601447" cy="2616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US" sz="1100"/>
              <a:t>CAD 0</a:t>
            </a:r>
            <a:endParaRPr lang="en-US" sz="11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F8F803B-330B-AC36-5E42-89110257468F}"/>
              </a:ext>
            </a:extLst>
          </p:cNvPr>
          <p:cNvSpPr txBox="1"/>
          <p:nvPr/>
        </p:nvSpPr>
        <p:spPr>
          <a:xfrm>
            <a:off x="5598007" y="3380056"/>
            <a:ext cx="601447" cy="2616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US" sz="1100"/>
              <a:t>CAD 0</a:t>
            </a:r>
            <a:endParaRPr lang="en-US" sz="1100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EE92F75-18AC-F9A3-9A01-5ACCA39CE36C}"/>
              </a:ext>
            </a:extLst>
          </p:cNvPr>
          <p:cNvSpPr txBox="1"/>
          <p:nvPr/>
        </p:nvSpPr>
        <p:spPr>
          <a:xfrm>
            <a:off x="5598007" y="3880402"/>
            <a:ext cx="601447" cy="2616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US" sz="1100"/>
              <a:t>CAD 0</a:t>
            </a:r>
            <a:endParaRPr lang="en-US" sz="1100" dirty="0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A6F8784A-8DA9-9012-8D1E-1C606EDFC59D}"/>
              </a:ext>
            </a:extLst>
          </p:cNvPr>
          <p:cNvSpPr txBox="1"/>
          <p:nvPr/>
        </p:nvSpPr>
        <p:spPr>
          <a:xfrm>
            <a:off x="6696289" y="5699371"/>
            <a:ext cx="452047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/>
              <a:t>CAD 0</a:t>
            </a:r>
            <a:endParaRPr lang="en-US" sz="1200" dirty="0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94066C03-7C28-FF8E-1A70-C912918133B7}"/>
              </a:ext>
            </a:extLst>
          </p:cNvPr>
          <p:cNvSpPr txBox="1"/>
          <p:nvPr/>
        </p:nvSpPr>
        <p:spPr>
          <a:xfrm>
            <a:off x="6696289" y="5886507"/>
            <a:ext cx="452047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/>
              <a:t>CAD 0</a:t>
            </a:r>
            <a:endParaRPr lang="en-US" sz="1200" dirty="0"/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EB611F8-B947-C9D5-4097-AC80D7A3C62E}"/>
              </a:ext>
            </a:extLst>
          </p:cNvPr>
          <p:cNvSpPr txBox="1"/>
          <p:nvPr/>
        </p:nvSpPr>
        <p:spPr>
          <a:xfrm>
            <a:off x="6696289" y="4783453"/>
            <a:ext cx="452047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/>
              <a:t>CAD 0</a:t>
            </a:r>
            <a:endParaRPr lang="en-US" sz="1200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D40C25C-07F6-FF33-295C-587CAC7B5FC2}"/>
              </a:ext>
            </a:extLst>
          </p:cNvPr>
          <p:cNvSpPr txBox="1"/>
          <p:nvPr/>
        </p:nvSpPr>
        <p:spPr>
          <a:xfrm>
            <a:off x="6696289" y="4972084"/>
            <a:ext cx="750205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/>
              <a:t>CAD 7,020</a:t>
            </a:r>
            <a:endParaRPr lang="en-US" sz="1200" dirty="0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EB56AF32-E249-DC5A-3855-060F6E39C62E}"/>
              </a:ext>
            </a:extLst>
          </p:cNvPr>
          <p:cNvSpPr txBox="1"/>
          <p:nvPr/>
        </p:nvSpPr>
        <p:spPr>
          <a:xfrm>
            <a:off x="6696289" y="5149587"/>
            <a:ext cx="468077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/>
              <a:t>CAD 0</a:t>
            </a:r>
            <a:endParaRPr lang="en-US" sz="1200" dirty="0"/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502720BD-D8B0-3FD3-C26B-62A29A54A60B}"/>
              </a:ext>
            </a:extLst>
          </p:cNvPr>
          <p:cNvSpPr txBox="1"/>
          <p:nvPr/>
        </p:nvSpPr>
        <p:spPr>
          <a:xfrm>
            <a:off x="6696289" y="5328321"/>
            <a:ext cx="750205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/>
              <a:t>CAD 7,020</a:t>
            </a:r>
            <a:endParaRPr lang="en-US" sz="1200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847346C-9E57-3FB9-4F65-4DD772E3609D}"/>
              </a:ext>
            </a:extLst>
          </p:cNvPr>
          <p:cNvSpPr txBox="1"/>
          <p:nvPr/>
        </p:nvSpPr>
        <p:spPr>
          <a:xfrm>
            <a:off x="4439290" y="4128457"/>
            <a:ext cx="2147430" cy="1985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endParaRPr lang="en-US" sz="1400" b="1" dirty="0"/>
          </a:p>
          <a:p>
            <a:pPr marL="0" indent="0">
              <a:buNone/>
            </a:pPr>
            <a:r>
              <a:rPr lang="en-US" sz="1400" b="1" dirty="0"/>
              <a:t>Return on investment</a:t>
            </a:r>
          </a:p>
          <a:p>
            <a:pPr marL="0" indent="0">
              <a:buNone/>
            </a:pPr>
            <a:endParaRPr lang="en-US" sz="11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Total current cos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Total investment cost:</a:t>
            </a:r>
          </a:p>
          <a:p>
            <a:pPr marL="781035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One-time Fee:</a:t>
            </a:r>
            <a:endParaRPr lang="en-US" sz="1200" dirty="0">
              <a:cs typeface="Arial"/>
            </a:endParaRPr>
          </a:p>
          <a:p>
            <a:pPr marL="781035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Annual Fee:</a:t>
            </a:r>
            <a:endParaRPr lang="en-US" sz="1200" dirty="0">
              <a:cs typeface="Arial"/>
            </a:endParaRPr>
          </a:p>
          <a:p>
            <a:pPr marL="781035" lvl="1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Total future cos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Total potential savings:</a:t>
            </a:r>
            <a:endParaRPr lang="en-US" sz="1200" b="1" dirty="0">
              <a:ea typeface="League Spartan" charset="0"/>
              <a:cs typeface="Poppins" pitchFamily="2" charset="77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38F416B1-1747-6791-DE5F-EB09B79648D0}"/>
              </a:ext>
            </a:extLst>
          </p:cNvPr>
          <p:cNvSpPr txBox="1"/>
          <p:nvPr/>
        </p:nvSpPr>
        <p:spPr>
          <a:xfrm>
            <a:off x="9505185" y="2526694"/>
            <a:ext cx="835165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>
                <a:latin typeface="+mj-lt"/>
              </a:rPr>
              <a:t>CAD 40,000</a:t>
            </a:r>
            <a:endParaRPr lang="en-US" sz="1200" dirty="0">
              <a:latin typeface="+mj-lt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13F6B437-0F4B-869B-1B92-D86BF25D56EE}"/>
              </a:ext>
            </a:extLst>
          </p:cNvPr>
          <p:cNvSpPr txBox="1"/>
          <p:nvPr/>
        </p:nvSpPr>
        <p:spPr>
          <a:xfrm>
            <a:off x="9505185" y="3074478"/>
            <a:ext cx="835165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>
                <a:latin typeface="+mj-lt"/>
              </a:rPr>
              <a:t>CAD 40,000</a:t>
            </a:r>
            <a:endParaRPr lang="en-US" sz="1200" dirty="0">
              <a:latin typeface="+mj-lt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74D59E0-DB7F-8EFB-D5CD-E774A6AB955B}"/>
              </a:ext>
            </a:extLst>
          </p:cNvPr>
          <p:cNvSpPr txBox="1"/>
          <p:nvPr/>
        </p:nvSpPr>
        <p:spPr>
          <a:xfrm>
            <a:off x="9505185" y="3628153"/>
            <a:ext cx="835165" cy="1833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200">
                <a:latin typeface="+mj-lt"/>
              </a:rPr>
              <a:t>CAD 40,000</a:t>
            </a:r>
            <a:endParaRPr lang="en-US" sz="1200" dirty="0">
              <a:latin typeface="+mj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92F215-D248-59DD-9476-CAC7F85ABD35}"/>
              </a:ext>
            </a:extLst>
          </p:cNvPr>
          <p:cNvSpPr txBox="1"/>
          <p:nvPr/>
        </p:nvSpPr>
        <p:spPr>
          <a:xfrm>
            <a:off x="8384129" y="2135458"/>
            <a:ext cx="339442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en-US" sz="1200" b="1">
                <a:latin typeface="+mj-lt"/>
              </a:rPr>
              <a:t>VDC Proc 1</a:t>
            </a:r>
            <a:endParaRPr lang="en-US" sz="1200" b="1" dirty="0"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4A9B2EA-1BEE-BB9B-4EDE-BE110CF9684F}"/>
              </a:ext>
            </a:extLst>
          </p:cNvPr>
          <p:cNvSpPr txBox="1"/>
          <p:nvPr/>
        </p:nvSpPr>
        <p:spPr>
          <a:xfrm>
            <a:off x="8384834" y="2721134"/>
            <a:ext cx="338362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b="1">
                <a:latin typeface="Arial (Headings)"/>
              </a:rPr>
              <a:t>VDC proc 2</a:t>
            </a:r>
            <a:endParaRPr lang="en-US" sz="1200" b="1" dirty="0">
              <a:latin typeface="Arial (Headings)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9DC41A4-BE01-F56C-E93D-B8523D4E5DEE}"/>
              </a:ext>
            </a:extLst>
          </p:cNvPr>
          <p:cNvSpPr txBox="1"/>
          <p:nvPr/>
        </p:nvSpPr>
        <p:spPr>
          <a:xfrm>
            <a:off x="8384130" y="3266811"/>
            <a:ext cx="340220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b="1">
                <a:latin typeface="Arial (Headings)"/>
              </a:rPr>
              <a:t>VDC Proc 3</a:t>
            </a:r>
            <a:endParaRPr lang="en-US" sz="1200" b="1" dirty="0">
              <a:latin typeface="Arial (Headings)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116E5FC-6E2B-8BCA-EF10-9B110C036489}"/>
              </a:ext>
            </a:extLst>
          </p:cNvPr>
          <p:cNvSpPr txBox="1"/>
          <p:nvPr/>
        </p:nvSpPr>
        <p:spPr>
          <a:xfrm>
            <a:off x="8275326" y="1760440"/>
            <a:ext cx="26188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dirty="0">
                <a:latin typeface="+mj-lt"/>
              </a:rPr>
              <a:t>Current Process and Cost </a:t>
            </a:r>
            <a:endParaRPr lang="en-US" sz="1400" b="1" dirty="0">
              <a:latin typeface="+mj-lt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5E8379-D0C7-A991-F929-FF3D0B538420}"/>
              </a:ext>
            </a:extLst>
          </p:cNvPr>
          <p:cNvSpPr txBox="1"/>
          <p:nvPr/>
        </p:nvSpPr>
        <p:spPr>
          <a:xfrm>
            <a:off x="8019042" y="2302704"/>
            <a:ext cx="3754917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48350" lvl="1" indent="-171450">
              <a:buFont typeface="Arial" panose="020B0604020202020204" pitchFamily="34" charset="0"/>
              <a:buChar char="•"/>
            </a:pPr>
            <a:endParaRPr lang="en-US" sz="1200" b="1" dirty="0">
              <a:latin typeface="+mj-lt"/>
            </a:endParaRPr>
          </a:p>
          <a:p>
            <a:pPr marL="276900" lvl="1" indent="0">
              <a:buNone/>
            </a:pPr>
            <a:r>
              <a:rPr lang="en-US" sz="1200" dirty="0">
                <a:latin typeface="+mj-lt"/>
              </a:rPr>
              <a:t>Total savings:</a:t>
            </a:r>
          </a:p>
          <a:p>
            <a:pPr marL="276900" lvl="1" indent="0">
              <a:buNone/>
            </a:pPr>
            <a:endParaRPr lang="en-US" sz="1200" dirty="0">
              <a:latin typeface="+mj-lt"/>
            </a:endParaRPr>
          </a:p>
          <a:p>
            <a:pPr marL="448350" lvl="1" indent="-171450">
              <a:buFont typeface="Arial" panose="020B0604020202020204" pitchFamily="34" charset="0"/>
              <a:buChar char="•"/>
            </a:pPr>
            <a:endParaRPr lang="en-US" sz="1200" b="1" dirty="0">
              <a:latin typeface="+mj-lt"/>
            </a:endParaRPr>
          </a:p>
          <a:p>
            <a:pPr marL="276900" lvl="1" indent="0">
              <a:buNone/>
            </a:pPr>
            <a:r>
              <a:rPr lang="en-US" sz="1200" dirty="0">
                <a:latin typeface="+mj-lt"/>
              </a:rPr>
              <a:t>Total savings: </a:t>
            </a:r>
          </a:p>
          <a:p>
            <a:pPr marL="276900" lvl="1" indent="0">
              <a:buNone/>
            </a:pPr>
            <a:endParaRPr lang="en-US" sz="1200" dirty="0">
              <a:latin typeface="+mj-lt"/>
            </a:endParaRPr>
          </a:p>
          <a:p>
            <a:pPr marL="448350" lvl="1" indent="-171450">
              <a:buFont typeface="Arial" panose="020B0604020202020204" pitchFamily="34" charset="0"/>
              <a:buChar char="•"/>
            </a:pPr>
            <a:endParaRPr lang="en-US" sz="1200" b="1" dirty="0">
              <a:latin typeface="+mj-lt"/>
            </a:endParaRPr>
          </a:p>
          <a:p>
            <a:pPr marL="276900" lvl="1" indent="0">
              <a:buNone/>
            </a:pPr>
            <a:r>
              <a:rPr lang="en-US" sz="1200" dirty="0">
                <a:latin typeface="+mj-lt"/>
              </a:rPr>
              <a:t>Total savings:	 	</a:t>
            </a:r>
            <a:endParaRPr lang="en-US" sz="11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939460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883FA7E-3193-8232-51E5-8BA1310CD5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221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83FA7E-3193-8232-51E5-8BA1310CD5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DB466440-298C-57A7-C4C4-E9487AAC49D4}"/>
              </a:ext>
            </a:extLst>
          </p:cNvPr>
          <p:cNvSpPr/>
          <p:nvPr/>
        </p:nvSpPr>
        <p:spPr>
          <a:xfrm>
            <a:off x="8190174" y="1125537"/>
            <a:ext cx="3588385" cy="505602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051B9FB-A025-EDAA-92D6-4CB7D1B18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34" y="332997"/>
            <a:ext cx="11376025" cy="792538"/>
          </a:xfrm>
        </p:spPr>
        <p:txBody>
          <a:bodyPr vert="horz"/>
          <a:lstStyle/>
          <a:p>
            <a:r>
              <a:rPr lang="en-US" dirty="0"/>
              <a:t>Recommended hilti solutions </a:t>
            </a:r>
            <a:r>
              <a:rPr lang="en-US" altLang="ko-KR" sz="1800" dirty="0">
                <a:solidFill>
                  <a:schemeClr val="accent4"/>
                </a:solidFill>
                <a:cs typeface="Arial" pitchFamily="34" charset="0"/>
              </a:rPr>
              <a:t>digitizing processes</a:t>
            </a:r>
            <a:br>
              <a:rPr lang="en-US" sz="1400" dirty="0"/>
            </a:b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64A60A-EABE-7CC0-25CB-2C7B794574AE}"/>
              </a:ext>
            </a:extLst>
          </p:cNvPr>
          <p:cNvSpPr/>
          <p:nvPr/>
        </p:nvSpPr>
        <p:spPr>
          <a:xfrm>
            <a:off x="4301122" y="1125537"/>
            <a:ext cx="3588385" cy="505602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1EE54A8-8A14-4DEF-915A-C9B11C436FED}"/>
              </a:ext>
            </a:extLst>
          </p:cNvPr>
          <p:cNvSpPr txBox="1"/>
          <p:nvPr/>
        </p:nvSpPr>
        <p:spPr>
          <a:xfrm>
            <a:off x="4373835" y="1117992"/>
            <a:ext cx="219637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b="1">
                <a:solidFill>
                  <a:schemeClr val="accent4"/>
                </a:solidFill>
                <a:cs typeface="Arial" pitchFamily="34" charset="0"/>
              </a:defRPr>
            </a:lvl1pPr>
          </a:lstStyle>
          <a:p>
            <a:r>
              <a:rPr lang="en-US" altLang="ko-KR" sz="1800" dirty="0"/>
              <a:t>Benefits</a:t>
            </a:r>
          </a:p>
          <a:p>
            <a:r>
              <a:rPr lang="en-US" altLang="ko-KR" sz="1200" b="0" dirty="0"/>
              <a:t>Resource Management</a:t>
            </a:r>
            <a:endParaRPr lang="ko-KR" altLang="en-US" sz="1200" b="0" dirty="0"/>
          </a:p>
          <a:p>
            <a:endParaRPr lang="ko-KR" altLang="en-US" sz="1800" dirty="0"/>
          </a:p>
        </p:txBody>
      </p:sp>
      <p:pic>
        <p:nvPicPr>
          <p:cNvPr id="13" name="Picture 12">
            <a:hlinkClick r:id="" action="ppaction://noaction"/>
            <a:extLst>
              <a:ext uri="{FF2B5EF4-FFF2-40B4-BE49-F238E27FC236}">
                <a16:creationId xmlns:a16="http://schemas.microsoft.com/office/drawing/2014/main" id="{780304F0-2713-127A-7FB2-8B105205FE3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9151" y="5762871"/>
            <a:ext cx="1253865" cy="168719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3ACA77C9-9AC9-188F-4C4B-A294DAB0482B}"/>
              </a:ext>
            </a:extLst>
          </p:cNvPr>
          <p:cNvSpPr txBox="1"/>
          <p:nvPr/>
        </p:nvSpPr>
        <p:spPr>
          <a:xfrm>
            <a:off x="5794043" y="1171246"/>
            <a:ext cx="192759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en-US" sz="1600" b="1" dirty="0">
                <a:solidFill>
                  <a:schemeClr val="accent1"/>
                </a:solidFill>
              </a:rPr>
              <a:t>ROI</a:t>
            </a:r>
            <a:endParaRPr lang="en-US" sz="1200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F7A9717-B004-8102-A419-010ED6351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xecutive Summary</a:t>
            </a:r>
            <a:endParaRPr lang="en-US" noProof="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F88C90B-827A-6226-BD50-7B9715C19FCE}"/>
              </a:ext>
            </a:extLst>
          </p:cNvPr>
          <p:cNvSpPr txBox="1"/>
          <p:nvPr/>
        </p:nvSpPr>
        <p:spPr>
          <a:xfrm>
            <a:off x="9982200" y="109477"/>
            <a:ext cx="2053717" cy="57124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800" dirty="0"/>
              <a:t>Needs data from Excel file</a:t>
            </a:r>
          </a:p>
        </p:txBody>
      </p:sp>
      <p:sp>
        <p:nvSpPr>
          <p:cNvPr id="24" name="Right Triangle 23">
            <a:extLst>
              <a:ext uri="{FF2B5EF4-FFF2-40B4-BE49-F238E27FC236}">
                <a16:creationId xmlns:a16="http://schemas.microsoft.com/office/drawing/2014/main" id="{FD656733-DB14-06D7-059A-4DDA94BA1517}"/>
              </a:ext>
            </a:extLst>
          </p:cNvPr>
          <p:cNvSpPr/>
          <p:nvPr/>
        </p:nvSpPr>
        <p:spPr>
          <a:xfrm rot="5400000">
            <a:off x="8186287" y="1126055"/>
            <a:ext cx="1828800" cy="1828800"/>
          </a:xfrm>
          <a:prstGeom prst="rtTriangle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1873409-AC5E-B7F7-1C4D-59DD02304A7D}"/>
              </a:ext>
            </a:extLst>
          </p:cNvPr>
          <p:cNvSpPr txBox="1"/>
          <p:nvPr/>
        </p:nvSpPr>
        <p:spPr>
          <a:xfrm>
            <a:off x="8172297" y="1118513"/>
            <a:ext cx="358838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b="1">
                <a:solidFill>
                  <a:schemeClr val="accent4"/>
                </a:solidFill>
                <a:cs typeface="Arial" pitchFamily="34" charset="0"/>
              </a:defRPr>
            </a:lvl1pPr>
          </a:lstStyle>
          <a:p>
            <a:r>
              <a:rPr lang="en-US" altLang="ko-KR" sz="1800" dirty="0"/>
              <a:t>Virtual Design &amp; Construction (VDC)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EB8DC24-5132-D7E8-0ECD-F3930BAC6843}"/>
              </a:ext>
            </a:extLst>
          </p:cNvPr>
          <p:cNvSpPr txBox="1"/>
          <p:nvPr/>
        </p:nvSpPr>
        <p:spPr>
          <a:xfrm>
            <a:off x="6080485" y="1171246"/>
            <a:ext cx="1266693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accent1"/>
                </a:solidFill>
              </a:rPr>
              <a:t>-CAD 7,020</a:t>
            </a:r>
            <a:endParaRPr lang="en-US" sz="1600" b="1" dirty="0">
              <a:solidFill>
                <a:schemeClr val="accent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E91BE5B-449F-33E2-95C4-643B7C519BCD}"/>
              </a:ext>
            </a:extLst>
          </p:cNvPr>
          <p:cNvSpPr txBox="1"/>
          <p:nvPr/>
        </p:nvSpPr>
        <p:spPr>
          <a:xfrm>
            <a:off x="10185689" y="4733701"/>
            <a:ext cx="1104790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lvl="1"/>
            <a:r>
              <a:rPr lang="en-US" sz="1200">
                <a:latin typeface="+mj-lt"/>
              </a:rPr>
              <a:t>CAD 120,000</a:t>
            </a:r>
            <a:endParaRPr lang="en-US" sz="1100" dirty="0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7332C76-BF99-5C54-E6F9-E682AD3857A3}"/>
              </a:ext>
            </a:extLst>
          </p:cNvPr>
          <p:cNvSpPr txBox="1"/>
          <p:nvPr/>
        </p:nvSpPr>
        <p:spPr>
          <a:xfrm>
            <a:off x="10185689" y="4911861"/>
            <a:ext cx="934871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lvl="1"/>
            <a:r>
              <a:rPr lang="en-US" sz="1200">
                <a:latin typeface="+mj-lt"/>
              </a:rPr>
              <a:t>CAD 8,777</a:t>
            </a:r>
            <a:endParaRPr lang="en-US" sz="1100" dirty="0">
              <a:latin typeface="+mj-lt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62CA366-0736-A69D-FF36-31D90907BE17}"/>
              </a:ext>
            </a:extLst>
          </p:cNvPr>
          <p:cNvSpPr txBox="1"/>
          <p:nvPr/>
        </p:nvSpPr>
        <p:spPr>
          <a:xfrm>
            <a:off x="10185689" y="5098071"/>
            <a:ext cx="806631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lvl="1"/>
            <a:r>
              <a:rPr lang="en-US" sz="1200">
                <a:latin typeface="+mj-lt"/>
              </a:rPr>
              <a:t>CAD 676</a:t>
            </a:r>
            <a:endParaRPr lang="en-US" sz="1100" dirty="0">
              <a:latin typeface="+mj-lt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82A46BE-F6F5-ABBF-4EA0-771DB4BCD78F}"/>
              </a:ext>
            </a:extLst>
          </p:cNvPr>
          <p:cNvSpPr txBox="1"/>
          <p:nvPr/>
        </p:nvSpPr>
        <p:spPr>
          <a:xfrm>
            <a:off x="10185689" y="5302309"/>
            <a:ext cx="1019831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lvl="1"/>
            <a:r>
              <a:rPr lang="en-US" sz="1200">
                <a:latin typeface="+mj-lt"/>
              </a:rPr>
              <a:t>CAD 30,000</a:t>
            </a:r>
            <a:endParaRPr lang="en-US" sz="1100" dirty="0">
              <a:latin typeface="+mj-lt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D8FC67D-7106-6EE4-30A0-571F459D4536}"/>
              </a:ext>
            </a:extLst>
          </p:cNvPr>
          <p:cNvSpPr txBox="1"/>
          <p:nvPr/>
        </p:nvSpPr>
        <p:spPr>
          <a:xfrm>
            <a:off x="10185689" y="5646082"/>
            <a:ext cx="1019831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lvl="1"/>
            <a:r>
              <a:rPr lang="en-US" sz="1200">
                <a:latin typeface="+mj-lt"/>
              </a:rPr>
              <a:t>CAD 10,000</a:t>
            </a:r>
            <a:endParaRPr lang="en-US" sz="1100" dirty="0">
              <a:latin typeface="+mj-lt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02AB3FF-5C81-6AF8-BBB6-9678819ABA00}"/>
              </a:ext>
            </a:extLst>
          </p:cNvPr>
          <p:cNvSpPr txBox="1"/>
          <p:nvPr/>
        </p:nvSpPr>
        <p:spPr>
          <a:xfrm>
            <a:off x="10185689" y="5832292"/>
            <a:ext cx="1093376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lvl="1"/>
            <a:r>
              <a:rPr lang="en-US" sz="1200">
                <a:latin typeface="+mj-lt"/>
              </a:rPr>
              <a:t>CAD 110,000</a:t>
            </a:r>
            <a:endParaRPr lang="en-US" sz="1100" dirty="0">
              <a:latin typeface="+mj-lt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CB55C54-0E4E-DE44-15CE-49FE856BF41B}"/>
              </a:ext>
            </a:extLst>
          </p:cNvPr>
          <p:cNvSpPr txBox="1"/>
          <p:nvPr/>
        </p:nvSpPr>
        <p:spPr>
          <a:xfrm>
            <a:off x="4707075" y="2799465"/>
            <a:ext cx="2667000" cy="1477328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Save time by avoiding manual entries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Eliminate duplication of effort 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Automate business processes like inventory, asset transfer, reporting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Integrate ON!Track with other software 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User-friendly mobile and web app designed for construction industry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EDA27AF-7BE6-F08C-7316-735163DE831F}"/>
              </a:ext>
            </a:extLst>
          </p:cNvPr>
          <p:cNvSpPr/>
          <p:nvPr/>
        </p:nvSpPr>
        <p:spPr>
          <a:xfrm>
            <a:off x="412070" y="1125535"/>
            <a:ext cx="3588385" cy="505602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0C77330-62FA-18CC-6A16-A22C898990F7}"/>
              </a:ext>
            </a:extLst>
          </p:cNvPr>
          <p:cNvSpPr txBox="1"/>
          <p:nvPr/>
        </p:nvSpPr>
        <p:spPr>
          <a:xfrm>
            <a:off x="383195" y="1125535"/>
            <a:ext cx="219637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b="1">
                <a:solidFill>
                  <a:schemeClr val="accent4"/>
                </a:solidFill>
                <a:cs typeface="Arial" pitchFamily="34" charset="0"/>
              </a:defRPr>
            </a:lvl1pPr>
          </a:lstStyle>
          <a:p>
            <a:r>
              <a:rPr lang="en-US" altLang="ko-KR" sz="1800"/>
              <a:t>Benefits</a:t>
            </a:r>
          </a:p>
          <a:p>
            <a:r>
              <a:rPr lang="en-US" altLang="ko-KR" sz="1200" b="0"/>
              <a:t>Jobsite Management</a:t>
            </a:r>
          </a:p>
          <a:p>
            <a:r>
              <a:rPr lang="en-US" altLang="ko-KR" sz="1800"/>
              <a:t> </a:t>
            </a:r>
          </a:p>
        </p:txBody>
      </p:sp>
      <p:pic>
        <p:nvPicPr>
          <p:cNvPr id="34" name="Picture 4" descr="FIELDWIRE Gestão de cumprimento e documentação de obra By Hilti">
            <a:extLst>
              <a:ext uri="{FF2B5EF4-FFF2-40B4-BE49-F238E27FC236}">
                <a16:creationId xmlns:a16="http://schemas.microsoft.com/office/drawing/2014/main" id="{C8E31F9B-973C-8D4E-D04C-A4AFE09C3A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905" b="97619" l="10000" r="91548">
                        <a14:foregroundMark x1="51071" y1="6349" x2="38929" y2="8571"/>
                        <a14:foregroundMark x1="48095" y1="2063" x2="48095" y2="2063"/>
                        <a14:foregroundMark x1="10952" y1="73016" x2="10952" y2="73016"/>
                        <a14:foregroundMark x1="19524" y1="76032" x2="19524" y2="76032"/>
                        <a14:foregroundMark x1="26190" y1="73016" x2="26190" y2="73016"/>
                        <a14:foregroundMark x1="34643" y1="74444" x2="34643" y2="74444"/>
                        <a14:foregroundMark x1="44881" y1="71746" x2="44881" y2="71746"/>
                        <a14:foregroundMark x1="57619" y1="78095" x2="57619" y2="78095"/>
                        <a14:foregroundMark x1="69643" y1="76190" x2="69643" y2="76190"/>
                        <a14:foregroundMark x1="78571" y1="73175" x2="78571" y2="73175"/>
                        <a14:foregroundMark x1="86905" y1="72381" x2="86905" y2="72381"/>
                        <a14:foregroundMark x1="76905" y1="92063" x2="76905" y2="92063"/>
                        <a14:foregroundMark x1="65952" y1="91905" x2="65952" y2="91905"/>
                        <a14:foregroundMark x1="63810" y1="91905" x2="79524" y2="89048"/>
                        <a14:foregroundMark x1="3452" y1="94286" x2="38929" y2="97143"/>
                        <a14:foregroundMark x1="38929" y1="97143" x2="91548" y2="92540"/>
                        <a14:foregroundMark x1="81310" y1="94762" x2="72262" y2="97302"/>
                        <a14:foregroundMark x1="72262" y1="97302" x2="83690" y2="95238"/>
                        <a14:foregroundMark x1="83690" y1="95238" x2="34048" y2="92381"/>
                        <a14:foregroundMark x1="34048" y1="92381" x2="75595" y2="9761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1321"/>
          <a:stretch/>
        </p:blipFill>
        <p:spPr bwMode="auto">
          <a:xfrm>
            <a:off x="2998335" y="5444070"/>
            <a:ext cx="867229" cy="576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59D83AE8-4A6F-B7C0-ADD4-676CB32D2DCE}"/>
              </a:ext>
            </a:extLst>
          </p:cNvPr>
          <p:cNvSpPr txBox="1"/>
          <p:nvPr/>
        </p:nvSpPr>
        <p:spPr>
          <a:xfrm>
            <a:off x="836327" y="2801642"/>
            <a:ext cx="2667000" cy="1554272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Up-to-date information like blueprints, files and tasks directly on mobile device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Effective collaboration for</a:t>
            </a:r>
          </a:p>
          <a:p>
            <a:pPr marL="781035" lvl="1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plan viewing</a:t>
            </a:r>
          </a:p>
          <a:p>
            <a:pPr marL="781035" lvl="1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versioning</a:t>
            </a:r>
          </a:p>
          <a:p>
            <a:pPr marL="781035" lvl="1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issue tracking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Task management &amp; scheduling</a:t>
            </a:r>
            <a:endParaRPr lang="en-US" sz="10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BE3C249-6035-40D1-8348-A09871E56B3D}"/>
              </a:ext>
            </a:extLst>
          </p:cNvPr>
          <p:cNvSpPr txBox="1"/>
          <p:nvPr/>
        </p:nvSpPr>
        <p:spPr>
          <a:xfrm>
            <a:off x="2952952" y="1171246"/>
            <a:ext cx="104682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en-US" sz="1600" b="1" dirty="0">
                <a:solidFill>
                  <a:schemeClr val="accent1"/>
                </a:solidFill>
              </a:rPr>
              <a:t>ROI</a:t>
            </a:r>
            <a:endParaRPr lang="en-US" sz="1200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9D75B80-832C-D672-22CF-E9E89E088C10}"/>
              </a:ext>
            </a:extLst>
          </p:cNvPr>
          <p:cNvSpPr txBox="1"/>
          <p:nvPr/>
        </p:nvSpPr>
        <p:spPr>
          <a:xfrm>
            <a:off x="2047311" y="1171246"/>
            <a:ext cx="1311578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accent1"/>
                </a:solidFill>
              </a:rPr>
              <a:t>CAD 16,000</a:t>
            </a:r>
            <a:endParaRPr lang="en-US" sz="12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1FF20C6-C9E4-9AA8-FB85-5D456BCA364C}"/>
              </a:ext>
            </a:extLst>
          </p:cNvPr>
          <p:cNvSpPr txBox="1"/>
          <p:nvPr/>
        </p:nvSpPr>
        <p:spPr>
          <a:xfrm>
            <a:off x="9406402" y="2488216"/>
            <a:ext cx="1019831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9525" lvl="1" indent="-9525"/>
            <a:r>
              <a:rPr lang="en-US" sz="1200">
                <a:latin typeface="+mj-lt"/>
              </a:rPr>
              <a:t>CAD 40,000</a:t>
            </a:r>
            <a:endParaRPr lang="en-US" sz="1100" dirty="0">
              <a:latin typeface="+mj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7BBCEA2-8566-A283-3690-E3B06F5CFC3C}"/>
              </a:ext>
            </a:extLst>
          </p:cNvPr>
          <p:cNvSpPr txBox="1"/>
          <p:nvPr/>
        </p:nvSpPr>
        <p:spPr>
          <a:xfrm>
            <a:off x="9406402" y="3024936"/>
            <a:ext cx="1019831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9525" lvl="1" indent="-9525"/>
            <a:r>
              <a:rPr lang="en-US" sz="1200">
                <a:latin typeface="+mj-lt"/>
              </a:rPr>
              <a:t>CAD 40,000</a:t>
            </a:r>
            <a:endParaRPr lang="en-US" sz="1100" dirty="0"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40B63B6-853E-214F-206F-207AA855B9C6}"/>
              </a:ext>
            </a:extLst>
          </p:cNvPr>
          <p:cNvSpPr txBox="1"/>
          <p:nvPr/>
        </p:nvSpPr>
        <p:spPr>
          <a:xfrm>
            <a:off x="9406402" y="3581011"/>
            <a:ext cx="1019831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lvl="1"/>
            <a:r>
              <a:rPr lang="en-US" sz="1200">
                <a:latin typeface="+mj-lt"/>
              </a:rPr>
              <a:t>CAD 40,000</a:t>
            </a:r>
            <a:endParaRPr lang="en-US" sz="1100" dirty="0">
              <a:latin typeface="+mj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60CBC8E-C21D-1792-3DCF-EBBFD30FBE9A}"/>
              </a:ext>
            </a:extLst>
          </p:cNvPr>
          <p:cNvSpPr txBox="1"/>
          <p:nvPr/>
        </p:nvSpPr>
        <p:spPr>
          <a:xfrm>
            <a:off x="8384131" y="2126618"/>
            <a:ext cx="339442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en-US" sz="1200" b="1">
                <a:latin typeface="+mj-lt"/>
              </a:rPr>
              <a:t>VDC Proc 1</a:t>
            </a:r>
            <a:endParaRPr lang="en-US" sz="1200" b="1" dirty="0">
              <a:latin typeface="+mj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4FF1F0F-03C3-6895-0768-83C1225A5863}"/>
              </a:ext>
            </a:extLst>
          </p:cNvPr>
          <p:cNvSpPr txBox="1"/>
          <p:nvPr/>
        </p:nvSpPr>
        <p:spPr>
          <a:xfrm>
            <a:off x="8384834" y="2729594"/>
            <a:ext cx="33937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b="1">
                <a:latin typeface="Arial (Headings)"/>
              </a:rPr>
              <a:t>VDC proc 2</a:t>
            </a:r>
            <a:endParaRPr lang="en-US" sz="1200" b="1" dirty="0">
              <a:latin typeface="Arial (Headings)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633A820-4DC8-3D0C-68EA-E4B92AD82E0A}"/>
              </a:ext>
            </a:extLst>
          </p:cNvPr>
          <p:cNvSpPr txBox="1"/>
          <p:nvPr/>
        </p:nvSpPr>
        <p:spPr>
          <a:xfrm>
            <a:off x="8384131" y="3263842"/>
            <a:ext cx="339372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b="1">
                <a:latin typeface="Arial (Headings)"/>
              </a:rPr>
              <a:t>VDC Proc 3</a:t>
            </a:r>
            <a:endParaRPr lang="en-US" sz="1200" b="1" dirty="0">
              <a:latin typeface="Arial (Headings)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753D93B-7490-DB43-EBE5-921899C72F94}"/>
              </a:ext>
            </a:extLst>
          </p:cNvPr>
          <p:cNvSpPr txBox="1"/>
          <p:nvPr/>
        </p:nvSpPr>
        <p:spPr>
          <a:xfrm>
            <a:off x="8275326" y="1760440"/>
            <a:ext cx="26188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dirty="0">
                <a:latin typeface="+mj-lt"/>
              </a:rPr>
              <a:t>Current Process and Cost </a:t>
            </a:r>
            <a:endParaRPr lang="en-US" sz="1400" b="1" dirty="0">
              <a:latin typeface="+mj-lt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29AE381-9AB3-95A1-0C34-60D9F0B435B3}"/>
              </a:ext>
            </a:extLst>
          </p:cNvPr>
          <p:cNvSpPr txBox="1"/>
          <p:nvPr/>
        </p:nvSpPr>
        <p:spPr>
          <a:xfrm>
            <a:off x="8019042" y="2302704"/>
            <a:ext cx="3754917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48350" lvl="1" indent="-171450">
              <a:buFont typeface="Arial" panose="020B0604020202020204" pitchFamily="34" charset="0"/>
              <a:buChar char="•"/>
            </a:pPr>
            <a:endParaRPr lang="en-US" sz="1200" b="1" dirty="0">
              <a:latin typeface="+mj-lt"/>
            </a:endParaRPr>
          </a:p>
          <a:p>
            <a:pPr marL="276900" lvl="1" indent="0">
              <a:buNone/>
            </a:pPr>
            <a:r>
              <a:rPr lang="en-US" sz="1200" dirty="0">
                <a:latin typeface="+mj-lt"/>
              </a:rPr>
              <a:t>Total savings:</a:t>
            </a:r>
          </a:p>
          <a:p>
            <a:pPr marL="276900" lvl="1" indent="0">
              <a:buNone/>
            </a:pPr>
            <a:endParaRPr lang="en-US" sz="1200" dirty="0">
              <a:latin typeface="+mj-lt"/>
            </a:endParaRPr>
          </a:p>
          <a:p>
            <a:pPr marL="448350" lvl="1" indent="-171450">
              <a:buFont typeface="Arial" panose="020B0604020202020204" pitchFamily="34" charset="0"/>
              <a:buChar char="•"/>
            </a:pPr>
            <a:endParaRPr lang="en-US" sz="1200" b="1" dirty="0">
              <a:latin typeface="+mj-lt"/>
            </a:endParaRPr>
          </a:p>
          <a:p>
            <a:pPr marL="276900" lvl="1" indent="0">
              <a:buNone/>
            </a:pPr>
            <a:r>
              <a:rPr lang="en-US" sz="1200" dirty="0">
                <a:latin typeface="+mj-lt"/>
              </a:rPr>
              <a:t>Total savings: </a:t>
            </a:r>
          </a:p>
          <a:p>
            <a:pPr marL="276900" lvl="1" indent="0">
              <a:buNone/>
            </a:pPr>
            <a:endParaRPr lang="en-US" sz="1200" dirty="0">
              <a:latin typeface="+mj-lt"/>
            </a:endParaRPr>
          </a:p>
          <a:p>
            <a:pPr marL="448350" lvl="1" indent="-171450">
              <a:buFont typeface="Arial" panose="020B0604020202020204" pitchFamily="34" charset="0"/>
              <a:buChar char="•"/>
            </a:pPr>
            <a:endParaRPr lang="en-US" sz="1200" b="1" dirty="0">
              <a:latin typeface="+mj-lt"/>
            </a:endParaRPr>
          </a:p>
          <a:p>
            <a:pPr marL="276900" lvl="1" indent="0">
              <a:buNone/>
            </a:pPr>
            <a:r>
              <a:rPr lang="en-US" sz="1200" dirty="0">
                <a:latin typeface="+mj-lt"/>
              </a:rPr>
              <a:t>Total savings:	 	</a:t>
            </a:r>
            <a:endParaRPr lang="en-US" sz="1100" dirty="0">
              <a:latin typeface="+mj-lt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03E05DB-4F93-D016-CD31-52831C69095C}"/>
              </a:ext>
            </a:extLst>
          </p:cNvPr>
          <p:cNvSpPr txBox="1"/>
          <p:nvPr/>
        </p:nvSpPr>
        <p:spPr>
          <a:xfrm>
            <a:off x="8275326" y="4346764"/>
            <a:ext cx="3588385" cy="17697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400" b="1" dirty="0">
                <a:latin typeface="+mj-lt"/>
              </a:rPr>
              <a:t>Return on investment</a:t>
            </a:r>
          </a:p>
          <a:p>
            <a:pPr marL="0" indent="0">
              <a:buNone/>
            </a:pPr>
            <a:endParaRPr lang="en-US" sz="1100" b="1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current cos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investment cost:</a:t>
            </a:r>
          </a:p>
          <a:p>
            <a:pPr marL="781035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One-time Fee:</a:t>
            </a:r>
            <a:endParaRPr lang="en-US" sz="1200" dirty="0">
              <a:cs typeface="Arial"/>
            </a:endParaRPr>
          </a:p>
          <a:p>
            <a:pPr marL="781035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Annual Fee:</a:t>
            </a:r>
            <a:endParaRPr lang="en-US" sz="1200" dirty="0">
              <a:cs typeface="Arial"/>
            </a:endParaRPr>
          </a:p>
          <a:p>
            <a:pPr marL="781035" lvl="1" indent="-171450">
              <a:buFont typeface="Arial" panose="020B0604020202020204" pitchFamily="34" charset="0"/>
              <a:buChar char="•"/>
            </a:pPr>
            <a:endParaRPr lang="en-US" sz="12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future cos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potential savings:</a:t>
            </a:r>
            <a:endParaRPr lang="en-US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930706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51B9FB-A025-EDAA-92D6-4CB7D1B18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34" y="332997"/>
            <a:ext cx="11376025" cy="792538"/>
          </a:xfrm>
        </p:spPr>
        <p:txBody>
          <a:bodyPr/>
          <a:lstStyle/>
          <a:p>
            <a:r>
              <a:rPr lang="en-US" dirty="0"/>
              <a:t>Recommended hilti solutions </a:t>
            </a:r>
            <a:r>
              <a:rPr lang="en-US" altLang="ko-KR" sz="1800" dirty="0">
                <a:solidFill>
                  <a:schemeClr val="accent4"/>
                </a:solidFill>
                <a:cs typeface="Arial" pitchFamily="34" charset="0"/>
              </a:rPr>
              <a:t>digitizing processes</a:t>
            </a:r>
            <a:br>
              <a:rPr lang="en-US" sz="1400" dirty="0"/>
            </a:b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772D465-57FC-D3BB-C9AA-B8FB9672BC79}"/>
              </a:ext>
            </a:extLst>
          </p:cNvPr>
          <p:cNvSpPr/>
          <p:nvPr/>
        </p:nvSpPr>
        <p:spPr>
          <a:xfrm>
            <a:off x="8190174" y="1125537"/>
            <a:ext cx="3588385" cy="505602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33680AB-1F0D-F1E3-D839-F964861EDBF4}"/>
              </a:ext>
            </a:extLst>
          </p:cNvPr>
          <p:cNvSpPr txBox="1"/>
          <p:nvPr/>
        </p:nvSpPr>
        <p:spPr>
          <a:xfrm>
            <a:off x="8172297" y="1118513"/>
            <a:ext cx="247056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b="1">
                <a:solidFill>
                  <a:schemeClr val="accent4"/>
                </a:solidFill>
                <a:cs typeface="Arial" pitchFamily="34" charset="0"/>
              </a:defRPr>
            </a:lvl1pPr>
          </a:lstStyle>
          <a:p>
            <a:r>
              <a:rPr lang="en-US" altLang="ko-KR" sz="1800" dirty="0"/>
              <a:t>Benefits</a:t>
            </a:r>
          </a:p>
          <a:p>
            <a:r>
              <a:rPr lang="en-US" altLang="ko-KR" sz="1200" b="0" dirty="0"/>
              <a:t>Virtual Design &amp; Construction (VDC)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951A82C-DDFD-B352-617E-E84F806F4EC2}"/>
              </a:ext>
            </a:extLst>
          </p:cNvPr>
          <p:cNvSpPr txBox="1"/>
          <p:nvPr/>
        </p:nvSpPr>
        <p:spPr>
          <a:xfrm>
            <a:off x="9798424" y="1156580"/>
            <a:ext cx="198013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en-US" sz="1600" b="1" dirty="0">
                <a:solidFill>
                  <a:schemeClr val="accent1"/>
                </a:solidFill>
              </a:rPr>
              <a:t>ROI</a:t>
            </a:r>
            <a:endParaRPr lang="en-US" sz="1200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23F9809-DED2-C779-9A63-1E770055CE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xecutive Summary</a:t>
            </a:r>
            <a:endParaRPr lang="en-US" noProof="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D14C6C4-9183-1AD1-1185-229CCB5D8B51}"/>
              </a:ext>
            </a:extLst>
          </p:cNvPr>
          <p:cNvSpPr txBox="1"/>
          <p:nvPr/>
        </p:nvSpPr>
        <p:spPr>
          <a:xfrm>
            <a:off x="9982200" y="109477"/>
            <a:ext cx="2053717" cy="57124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800" dirty="0"/>
              <a:t>Needs data from Excel fi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AEBECAB-89D3-D99C-32FE-549A84B7A46D}"/>
              </a:ext>
            </a:extLst>
          </p:cNvPr>
          <p:cNvSpPr txBox="1"/>
          <p:nvPr/>
        </p:nvSpPr>
        <p:spPr>
          <a:xfrm>
            <a:off x="9929630" y="1151754"/>
            <a:ext cx="1425391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accent1"/>
                </a:solidFill>
              </a:rPr>
              <a:t>CAD 101,223</a:t>
            </a:r>
            <a:endParaRPr lang="en-US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3397B79-441F-EF6B-2603-66CBE333411F}"/>
              </a:ext>
            </a:extLst>
          </p:cNvPr>
          <p:cNvSpPr txBox="1"/>
          <p:nvPr/>
        </p:nvSpPr>
        <p:spPr>
          <a:xfrm>
            <a:off x="8871456" y="2735137"/>
            <a:ext cx="2667000" cy="1631216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 err="1">
                <a:latin typeface="+mj-lt"/>
                <a:ea typeface="League Spartan" charset="0"/>
                <a:cs typeface="Poppins" pitchFamily="2" charset="77"/>
              </a:rPr>
              <a:t>Xxx</a:t>
            </a:r>
            <a:endParaRPr lang="en-US" sz="1000" dirty="0">
              <a:latin typeface="+mj-lt"/>
              <a:ea typeface="League Spartan" charset="0"/>
              <a:cs typeface="Poppins" pitchFamily="2" charset="77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 err="1">
                <a:latin typeface="+mj-lt"/>
                <a:ea typeface="League Spartan" charset="0"/>
                <a:cs typeface="Poppins" pitchFamily="2" charset="77"/>
              </a:rPr>
              <a:t>Xxx</a:t>
            </a:r>
            <a:endParaRPr lang="en-US" sz="1000" dirty="0">
              <a:latin typeface="+mj-lt"/>
              <a:ea typeface="League Spartan" charset="0"/>
              <a:cs typeface="Poppins" pitchFamily="2" charset="77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 err="1">
                <a:latin typeface="+mj-lt"/>
                <a:ea typeface="League Spartan" charset="0"/>
                <a:cs typeface="Poppins" pitchFamily="2" charset="77"/>
              </a:rPr>
              <a:t>Xxxx</a:t>
            </a:r>
            <a:endParaRPr lang="en-US" sz="1000" dirty="0">
              <a:latin typeface="+mj-lt"/>
              <a:ea typeface="League Spartan" charset="0"/>
              <a:cs typeface="Poppins" pitchFamily="2" charset="77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 err="1">
                <a:latin typeface="+mj-lt"/>
                <a:ea typeface="League Spartan" charset="0"/>
                <a:cs typeface="Poppins" pitchFamily="2" charset="77"/>
              </a:rPr>
              <a:t>Xxxx</a:t>
            </a:r>
            <a:endParaRPr lang="en-US" sz="1000" dirty="0">
              <a:latin typeface="+mj-lt"/>
              <a:ea typeface="League Spartan" charset="0"/>
              <a:cs typeface="Poppins" pitchFamily="2" charset="77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 err="1">
                <a:latin typeface="+mj-lt"/>
                <a:ea typeface="League Spartan" charset="0"/>
                <a:cs typeface="Poppins" pitchFamily="2" charset="77"/>
              </a:rPr>
              <a:t>Xxx</a:t>
            </a:r>
            <a:endParaRPr lang="en-US" sz="1000" dirty="0">
              <a:latin typeface="+mj-lt"/>
              <a:ea typeface="League Spartan" charset="0"/>
              <a:cs typeface="Poppins" pitchFamily="2" charset="77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 err="1">
                <a:latin typeface="+mj-lt"/>
                <a:ea typeface="League Spartan" charset="0"/>
                <a:cs typeface="Poppins" pitchFamily="2" charset="77"/>
              </a:rPr>
              <a:t>Xxx</a:t>
            </a:r>
            <a:endParaRPr lang="en-US" sz="1000" dirty="0">
              <a:latin typeface="+mj-lt"/>
              <a:ea typeface="League Spartan" charset="0"/>
              <a:cs typeface="Poppins" pitchFamily="2" charset="77"/>
            </a:endParaRPr>
          </a:p>
          <a:p>
            <a:pPr>
              <a:spcBef>
                <a:spcPts val="600"/>
              </a:spcBef>
            </a:pPr>
            <a:endParaRPr lang="en-US" sz="1000" dirty="0">
              <a:latin typeface="+mj-lt"/>
              <a:ea typeface="League Spartan" charset="0"/>
              <a:cs typeface="Poppins" pitchFamily="2" charset="77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D16BC16-4CFC-6ADC-9554-A259FB3868EE}"/>
              </a:ext>
            </a:extLst>
          </p:cNvPr>
          <p:cNvSpPr/>
          <p:nvPr/>
        </p:nvSpPr>
        <p:spPr>
          <a:xfrm>
            <a:off x="4301122" y="1125537"/>
            <a:ext cx="3588385" cy="505602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69F134F-2EEF-BD2E-0CA3-AD1C2E54346C}"/>
              </a:ext>
            </a:extLst>
          </p:cNvPr>
          <p:cNvSpPr txBox="1"/>
          <p:nvPr/>
        </p:nvSpPr>
        <p:spPr>
          <a:xfrm>
            <a:off x="4373835" y="1117992"/>
            <a:ext cx="219637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b="1">
                <a:solidFill>
                  <a:schemeClr val="accent4"/>
                </a:solidFill>
                <a:cs typeface="Arial" pitchFamily="34" charset="0"/>
              </a:defRPr>
            </a:lvl1pPr>
          </a:lstStyle>
          <a:p>
            <a:r>
              <a:rPr lang="en-US" altLang="ko-KR" sz="1800" dirty="0"/>
              <a:t>Benefits</a:t>
            </a:r>
          </a:p>
          <a:p>
            <a:r>
              <a:rPr lang="en-US" altLang="ko-KR" sz="1200" b="0" dirty="0"/>
              <a:t>Resource Management</a:t>
            </a:r>
            <a:endParaRPr lang="ko-KR" altLang="en-US" sz="1200" b="0" dirty="0"/>
          </a:p>
          <a:p>
            <a:endParaRPr lang="ko-KR" altLang="en-US" sz="1800" dirty="0"/>
          </a:p>
        </p:txBody>
      </p:sp>
      <p:pic>
        <p:nvPicPr>
          <p:cNvPr id="21" name="Picture 20">
            <a:hlinkClick r:id="" action="ppaction://noaction"/>
            <a:extLst>
              <a:ext uri="{FF2B5EF4-FFF2-40B4-BE49-F238E27FC236}">
                <a16:creationId xmlns:a16="http://schemas.microsoft.com/office/drawing/2014/main" id="{DD9062F4-65BE-6632-8006-F8270059F30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9151" y="5762871"/>
            <a:ext cx="1253865" cy="168719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47FD2EB-A3E3-19DE-67B5-F37C10D625AB}"/>
              </a:ext>
            </a:extLst>
          </p:cNvPr>
          <p:cNvSpPr txBox="1"/>
          <p:nvPr/>
        </p:nvSpPr>
        <p:spPr>
          <a:xfrm>
            <a:off x="5794043" y="1171246"/>
            <a:ext cx="192759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en-US" sz="1600" b="1" dirty="0">
                <a:solidFill>
                  <a:schemeClr val="accent1"/>
                </a:solidFill>
              </a:rPr>
              <a:t>ROI</a:t>
            </a:r>
            <a:endParaRPr lang="en-US" sz="12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DDB924C-8352-F945-1C48-B01A0B677686}"/>
              </a:ext>
            </a:extLst>
          </p:cNvPr>
          <p:cNvSpPr txBox="1"/>
          <p:nvPr/>
        </p:nvSpPr>
        <p:spPr>
          <a:xfrm>
            <a:off x="6080485" y="1171246"/>
            <a:ext cx="1266693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accent1"/>
                </a:solidFill>
              </a:rPr>
              <a:t>-CAD 7,020</a:t>
            </a:r>
            <a:endParaRPr lang="en-US" sz="1600" b="1" dirty="0">
              <a:solidFill>
                <a:schemeClr val="accent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F55A083-AD58-5E7F-80D3-8281B6FC9983}"/>
              </a:ext>
            </a:extLst>
          </p:cNvPr>
          <p:cNvSpPr txBox="1"/>
          <p:nvPr/>
        </p:nvSpPr>
        <p:spPr>
          <a:xfrm>
            <a:off x="4707075" y="2799465"/>
            <a:ext cx="2667000" cy="1477328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Save time by avoiding manual entries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Eliminate duplication of effort 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Automate business processes like inventory, asset transfer, reporting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Integrate ON!Track with other software 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User-friendly mobile and web app designed for construction industry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8D010BA-D9AB-163D-3914-576CFACDFC49}"/>
              </a:ext>
            </a:extLst>
          </p:cNvPr>
          <p:cNvSpPr/>
          <p:nvPr/>
        </p:nvSpPr>
        <p:spPr>
          <a:xfrm>
            <a:off x="412070" y="1125535"/>
            <a:ext cx="3588385" cy="505602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D55ADD7-C77D-5E1F-6974-24574A1478A1}"/>
              </a:ext>
            </a:extLst>
          </p:cNvPr>
          <p:cNvSpPr txBox="1"/>
          <p:nvPr/>
        </p:nvSpPr>
        <p:spPr>
          <a:xfrm>
            <a:off x="383195" y="1125535"/>
            <a:ext cx="219637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b="1">
                <a:solidFill>
                  <a:schemeClr val="accent4"/>
                </a:solidFill>
                <a:cs typeface="Arial" pitchFamily="34" charset="0"/>
              </a:defRPr>
            </a:lvl1pPr>
          </a:lstStyle>
          <a:p>
            <a:r>
              <a:rPr lang="en-US" altLang="ko-KR" sz="1800"/>
              <a:t>Benefits</a:t>
            </a:r>
          </a:p>
          <a:p>
            <a:r>
              <a:rPr lang="en-US" altLang="ko-KR" sz="1200" b="0"/>
              <a:t>Jobsite Management</a:t>
            </a:r>
          </a:p>
          <a:p>
            <a:r>
              <a:rPr lang="en-US" altLang="ko-KR" sz="1800"/>
              <a:t> </a:t>
            </a:r>
          </a:p>
        </p:txBody>
      </p:sp>
      <p:pic>
        <p:nvPicPr>
          <p:cNvPr id="27" name="Picture 4" descr="FIELDWIRE Gestão de cumprimento e documentação de obra By Hilti">
            <a:extLst>
              <a:ext uri="{FF2B5EF4-FFF2-40B4-BE49-F238E27FC236}">
                <a16:creationId xmlns:a16="http://schemas.microsoft.com/office/drawing/2014/main" id="{DF2EB31B-DF9F-9E4B-35C7-6CF2F0D0D7B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905" b="97619" l="10000" r="91548">
                        <a14:foregroundMark x1="51071" y1="6349" x2="38929" y2="8571"/>
                        <a14:foregroundMark x1="48095" y1="2063" x2="48095" y2="2063"/>
                        <a14:foregroundMark x1="10952" y1="73016" x2="10952" y2="73016"/>
                        <a14:foregroundMark x1="19524" y1="76032" x2="19524" y2="76032"/>
                        <a14:foregroundMark x1="26190" y1="73016" x2="26190" y2="73016"/>
                        <a14:foregroundMark x1="34643" y1="74444" x2="34643" y2="74444"/>
                        <a14:foregroundMark x1="44881" y1="71746" x2="44881" y2="71746"/>
                        <a14:foregroundMark x1="57619" y1="78095" x2="57619" y2="78095"/>
                        <a14:foregroundMark x1="69643" y1="76190" x2="69643" y2="76190"/>
                        <a14:foregroundMark x1="78571" y1="73175" x2="78571" y2="73175"/>
                        <a14:foregroundMark x1="86905" y1="72381" x2="86905" y2="72381"/>
                        <a14:foregroundMark x1="76905" y1="92063" x2="76905" y2="92063"/>
                        <a14:foregroundMark x1="65952" y1="91905" x2="65952" y2="91905"/>
                        <a14:foregroundMark x1="63810" y1="91905" x2="79524" y2="89048"/>
                        <a14:foregroundMark x1="3452" y1="94286" x2="38929" y2="97143"/>
                        <a14:foregroundMark x1="38929" y1="97143" x2="91548" y2="92540"/>
                        <a14:foregroundMark x1="81310" y1="94762" x2="72262" y2="97302"/>
                        <a14:foregroundMark x1="72262" y1="97302" x2="83690" y2="95238"/>
                        <a14:foregroundMark x1="83690" y1="95238" x2="34048" y2="92381"/>
                        <a14:foregroundMark x1="34048" y1="92381" x2="75595" y2="9761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1321"/>
          <a:stretch/>
        </p:blipFill>
        <p:spPr bwMode="auto">
          <a:xfrm>
            <a:off x="2998335" y="5444070"/>
            <a:ext cx="867229" cy="576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FAF5DFE3-0E3B-29EC-9946-A2F5DFE7124D}"/>
              </a:ext>
            </a:extLst>
          </p:cNvPr>
          <p:cNvSpPr txBox="1"/>
          <p:nvPr/>
        </p:nvSpPr>
        <p:spPr>
          <a:xfrm>
            <a:off x="836327" y="2801642"/>
            <a:ext cx="2667000" cy="1554272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Up-to-date information like blueprints, files and tasks directly on mobile device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Effective collaboration for</a:t>
            </a:r>
          </a:p>
          <a:p>
            <a:pPr marL="781035" lvl="1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plan viewing</a:t>
            </a:r>
          </a:p>
          <a:p>
            <a:pPr marL="781035" lvl="1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versioning</a:t>
            </a:r>
          </a:p>
          <a:p>
            <a:pPr marL="781035" lvl="1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issue tracking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Task management &amp; scheduling</a:t>
            </a:r>
            <a:endParaRPr lang="en-US" sz="10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AA20049-69E3-61E6-BC0C-F0699383B260}"/>
              </a:ext>
            </a:extLst>
          </p:cNvPr>
          <p:cNvSpPr txBox="1"/>
          <p:nvPr/>
        </p:nvSpPr>
        <p:spPr>
          <a:xfrm>
            <a:off x="2952952" y="1171246"/>
            <a:ext cx="104682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en-US" sz="1600" b="1" dirty="0">
                <a:solidFill>
                  <a:schemeClr val="accent1"/>
                </a:solidFill>
              </a:rPr>
              <a:t>ROI</a:t>
            </a:r>
            <a:endParaRPr lang="en-US" sz="12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CD7AB0C-A356-F2CF-34F4-F88FC60209FC}"/>
              </a:ext>
            </a:extLst>
          </p:cNvPr>
          <p:cNvSpPr txBox="1"/>
          <p:nvPr/>
        </p:nvSpPr>
        <p:spPr>
          <a:xfrm>
            <a:off x="2047311" y="1171246"/>
            <a:ext cx="1311578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accent1"/>
                </a:solidFill>
              </a:rPr>
              <a:t>CAD 16,000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9019351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51B9FB-A025-EDAA-92D6-4CB7D1B18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34" y="332997"/>
            <a:ext cx="11376025" cy="792538"/>
          </a:xfrm>
        </p:spPr>
        <p:txBody>
          <a:bodyPr/>
          <a:lstStyle/>
          <a:p>
            <a:r>
              <a:rPr lang="en-US" dirty="0"/>
              <a:t>Recommended hilti solutions </a:t>
            </a:r>
            <a:r>
              <a:rPr lang="en-US" sz="1800" dirty="0">
                <a:solidFill>
                  <a:schemeClr val="accent4"/>
                </a:solidFill>
                <a:cs typeface="Arial" pitchFamily="34" charset="0"/>
              </a:rPr>
              <a:t>system solutions</a:t>
            </a:r>
            <a:br>
              <a:rPr lang="en-US" sz="1400" dirty="0"/>
            </a:b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287CC4-8EF8-298E-F4A2-E06F4D84B120}"/>
              </a:ext>
            </a:extLst>
          </p:cNvPr>
          <p:cNvSpPr/>
          <p:nvPr/>
        </p:nvSpPr>
        <p:spPr>
          <a:xfrm>
            <a:off x="412070" y="1125535"/>
            <a:ext cx="3588385" cy="505602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64A60A-EABE-7CC0-25CB-2C7B794574AE}"/>
              </a:ext>
            </a:extLst>
          </p:cNvPr>
          <p:cNvSpPr/>
          <p:nvPr/>
        </p:nvSpPr>
        <p:spPr>
          <a:xfrm>
            <a:off x="4301122" y="1125537"/>
            <a:ext cx="3588385" cy="505602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74D1D31C-D8A4-005E-397F-92D7F831BC71}"/>
              </a:ext>
            </a:extLst>
          </p:cNvPr>
          <p:cNvSpPr/>
          <p:nvPr/>
        </p:nvSpPr>
        <p:spPr>
          <a:xfrm rot="5400000">
            <a:off x="418041" y="1126054"/>
            <a:ext cx="1828800" cy="1828800"/>
          </a:xfrm>
          <a:prstGeom prst="rtTriangle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24" name="Right Triangle 23">
            <a:extLst>
              <a:ext uri="{FF2B5EF4-FFF2-40B4-BE49-F238E27FC236}">
                <a16:creationId xmlns:a16="http://schemas.microsoft.com/office/drawing/2014/main" id="{1C69498D-D9CD-50AB-54F8-B9A04CCD8556}"/>
              </a:ext>
            </a:extLst>
          </p:cNvPr>
          <p:cNvSpPr/>
          <p:nvPr/>
        </p:nvSpPr>
        <p:spPr>
          <a:xfrm rot="5400000">
            <a:off x="4300445" y="1126056"/>
            <a:ext cx="1828800" cy="1828800"/>
          </a:xfrm>
          <a:prstGeom prst="rtTriangle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E83E115-823C-5C91-3934-D27B67A15F95}"/>
              </a:ext>
            </a:extLst>
          </p:cNvPr>
          <p:cNvSpPr txBox="1"/>
          <p:nvPr/>
        </p:nvSpPr>
        <p:spPr>
          <a:xfrm>
            <a:off x="402534" y="1125535"/>
            <a:ext cx="202520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b="1">
                <a:solidFill>
                  <a:schemeClr val="accent4"/>
                </a:solidFill>
                <a:cs typeface="Arial" pitchFamily="34" charset="0"/>
              </a:defRPr>
            </a:lvl1pPr>
          </a:lstStyle>
          <a:p>
            <a:r>
              <a:rPr lang="en-US" altLang="ko-KR" sz="1800" dirty="0"/>
              <a:t>High </a:t>
            </a:r>
          </a:p>
          <a:p>
            <a:r>
              <a:rPr lang="en-US" altLang="ko-KR" sz="1800" dirty="0"/>
              <a:t>Performing Tool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1EE54A8-8A14-4DEF-915A-C9B11C436FED}"/>
              </a:ext>
            </a:extLst>
          </p:cNvPr>
          <p:cNvSpPr txBox="1"/>
          <p:nvPr/>
        </p:nvSpPr>
        <p:spPr>
          <a:xfrm>
            <a:off x="4373835" y="1117992"/>
            <a:ext cx="230318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b="1">
                <a:solidFill>
                  <a:schemeClr val="accent4"/>
                </a:solidFill>
                <a:cs typeface="Arial" pitchFamily="34" charset="0"/>
              </a:defRPr>
            </a:lvl1pPr>
          </a:lstStyle>
          <a:p>
            <a:r>
              <a:rPr lang="en-US" altLang="ko-KR" sz="1800" dirty="0"/>
              <a:t>Work Package Solutions</a:t>
            </a:r>
            <a:endParaRPr lang="ko-KR" altLang="en-US" sz="1800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7AFB986-F64D-60D1-3D48-6B74AB97EB82}"/>
              </a:ext>
            </a:extLst>
          </p:cNvPr>
          <p:cNvGrpSpPr/>
          <p:nvPr/>
        </p:nvGrpSpPr>
        <p:grpSpPr>
          <a:xfrm>
            <a:off x="2242760" y="1173168"/>
            <a:ext cx="2073612" cy="600065"/>
            <a:chOff x="2242760" y="1173168"/>
            <a:chExt cx="2073612" cy="600065"/>
          </a:xfrm>
        </p:grpSpPr>
        <p:pic>
          <p:nvPicPr>
            <p:cNvPr id="2" name="Picture 6">
              <a:extLst>
                <a:ext uri="{FF2B5EF4-FFF2-40B4-BE49-F238E27FC236}">
                  <a16:creationId xmlns:a16="http://schemas.microsoft.com/office/drawing/2014/main" id="{5B3FA3A0-C2F6-3967-416B-33A6E4DA2E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42760" y="1329444"/>
              <a:ext cx="874278" cy="1867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2" descr="Fleet Management - Hilti Corporation">
              <a:extLst>
                <a:ext uri="{FF2B5EF4-FFF2-40B4-BE49-F238E27FC236}">
                  <a16:creationId xmlns:a16="http://schemas.microsoft.com/office/drawing/2014/main" id="{A6125C07-630A-3D66-8A18-FA8C747D5AB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041" t="1" b="25319"/>
            <a:stretch/>
          </p:blipFill>
          <p:spPr bwMode="auto">
            <a:xfrm>
              <a:off x="2801121" y="1173168"/>
              <a:ext cx="1515251" cy="6000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A00514B7-B201-1752-D5DC-6B2E3D1AED3F}"/>
              </a:ext>
            </a:extLst>
          </p:cNvPr>
          <p:cNvSpPr txBox="1"/>
          <p:nvPr/>
        </p:nvSpPr>
        <p:spPr>
          <a:xfrm>
            <a:off x="751236" y="2060351"/>
            <a:ext cx="3159985" cy="176971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400" b="1" dirty="0">
                <a:latin typeface="+mj-lt"/>
              </a:rPr>
              <a:t>Return on investment</a:t>
            </a:r>
          </a:p>
          <a:p>
            <a:pPr marL="0" indent="0">
              <a:buNone/>
            </a:pPr>
            <a:endParaRPr lang="en-US" sz="1100" b="1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current cos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investment cost:</a:t>
            </a:r>
          </a:p>
          <a:p>
            <a:pPr marL="781035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One-time Fee:</a:t>
            </a:r>
            <a:endParaRPr lang="en-US" sz="1200" dirty="0">
              <a:cs typeface="Arial"/>
            </a:endParaRPr>
          </a:p>
          <a:p>
            <a:pPr marL="781035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Annual Fee:</a:t>
            </a:r>
            <a:endParaRPr lang="en-US" sz="1200" dirty="0">
              <a:cs typeface="Arial"/>
            </a:endParaRPr>
          </a:p>
          <a:p>
            <a:pPr marL="781035" lvl="1" indent="-171450">
              <a:buFont typeface="Arial" panose="020B0604020202020204" pitchFamily="34" charset="0"/>
              <a:buChar char="•"/>
            </a:pPr>
            <a:endParaRPr lang="en-US" sz="12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future cos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potential savings: </a:t>
            </a:r>
            <a:endParaRPr lang="en-US" sz="2000" dirty="0"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BD7715E-1402-847B-4D2B-CC72B2B9B718}"/>
              </a:ext>
            </a:extLst>
          </p:cNvPr>
          <p:cNvSpPr txBox="1"/>
          <p:nvPr/>
        </p:nvSpPr>
        <p:spPr>
          <a:xfrm>
            <a:off x="751236" y="4063720"/>
            <a:ext cx="3238500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latin typeface="+mj-lt"/>
              </a:rPr>
              <a:t>                      estimated savings in </a:t>
            </a:r>
            <a:r>
              <a:rPr lang="en-US" sz="1400" b="1" dirty="0">
                <a:latin typeface="+mj-lt"/>
              </a:rPr>
              <a:t>Repair and Parts cost </a:t>
            </a:r>
            <a:r>
              <a:rPr lang="en-US" sz="1400" dirty="0">
                <a:latin typeface="+mj-lt"/>
              </a:rPr>
              <a:t>per year</a:t>
            </a:r>
          </a:p>
          <a:p>
            <a:endParaRPr lang="en-US" sz="1400" dirty="0">
              <a:latin typeface="+mj-lt"/>
            </a:endParaRPr>
          </a:p>
          <a:p>
            <a:r>
              <a:rPr lang="en-US" sz="1400" dirty="0">
                <a:latin typeface="+mj-lt"/>
              </a:rPr>
              <a:t>                       estimated savings in </a:t>
            </a:r>
            <a:r>
              <a:rPr lang="en-US" sz="1400" b="1" dirty="0">
                <a:latin typeface="+mj-lt"/>
              </a:rPr>
              <a:t>Operational cost </a:t>
            </a:r>
            <a:r>
              <a:rPr lang="en-US" sz="1400" dirty="0">
                <a:latin typeface="+mj-lt"/>
              </a:rPr>
              <a:t>per year</a:t>
            </a:r>
          </a:p>
          <a:p>
            <a:endParaRPr lang="en-US" sz="1400" dirty="0">
              <a:latin typeface="+mj-lt"/>
            </a:endParaRPr>
          </a:p>
          <a:p>
            <a:r>
              <a:rPr lang="en-US" sz="1400" dirty="0">
                <a:latin typeface="+mj-lt"/>
              </a:rPr>
              <a:t>                        estimated labor savings,  </a:t>
            </a:r>
            <a:r>
              <a:rPr lang="en-US" sz="1400" b="1" dirty="0">
                <a:latin typeface="+mj-lt"/>
              </a:rPr>
              <a:t>Application Productivity</a:t>
            </a:r>
            <a:r>
              <a:rPr lang="en-US" sz="1400" dirty="0">
                <a:latin typeface="+mj-lt"/>
              </a:rPr>
              <a:t> per yea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683E26-C7EF-CBF4-ACD4-42412C8E113E}"/>
              </a:ext>
            </a:extLst>
          </p:cNvPr>
          <p:cNvSpPr txBox="1"/>
          <p:nvPr/>
        </p:nvSpPr>
        <p:spPr>
          <a:xfrm>
            <a:off x="4955562" y="2695840"/>
            <a:ext cx="3159985" cy="17697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400" b="1" dirty="0">
                <a:latin typeface="+mj-lt"/>
              </a:rPr>
              <a:t>Return on investment</a:t>
            </a:r>
          </a:p>
          <a:p>
            <a:pPr marL="0" indent="0">
              <a:buNone/>
            </a:pPr>
            <a:endParaRPr lang="en-US" sz="1100" b="1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current cos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investment cost:</a:t>
            </a:r>
          </a:p>
          <a:p>
            <a:pPr marL="781035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One-time Fee:</a:t>
            </a:r>
            <a:endParaRPr lang="en-US" sz="1200" dirty="0">
              <a:cs typeface="Arial"/>
            </a:endParaRPr>
          </a:p>
          <a:p>
            <a:pPr marL="781035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Annual Fee:</a:t>
            </a:r>
            <a:endParaRPr lang="en-US" sz="1200" dirty="0">
              <a:cs typeface="Arial"/>
            </a:endParaRPr>
          </a:p>
          <a:p>
            <a:pPr marL="781035" lvl="1" indent="-171450">
              <a:buFont typeface="Arial" panose="020B0604020202020204" pitchFamily="34" charset="0"/>
              <a:buChar char="•"/>
            </a:pPr>
            <a:endParaRPr lang="en-US" sz="12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future cos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potential savings:</a:t>
            </a:r>
            <a:r>
              <a:rPr lang="en-US" sz="1200" dirty="0"/>
              <a:t> </a:t>
            </a:r>
            <a:endParaRPr lang="en-US" sz="2000" dirty="0">
              <a:latin typeface="+mj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18ED7E7-485B-BCCA-C86C-86A2728FCCFE}"/>
              </a:ext>
            </a:extLst>
          </p:cNvPr>
          <p:cNvSpPr/>
          <p:nvPr/>
        </p:nvSpPr>
        <p:spPr>
          <a:xfrm>
            <a:off x="8190174" y="1125537"/>
            <a:ext cx="3588385" cy="505602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pic>
        <p:nvPicPr>
          <p:cNvPr id="19" name="Picture 2">
            <a:extLst>
              <a:ext uri="{FF2B5EF4-FFF2-40B4-BE49-F238E27FC236}">
                <a16:creationId xmlns:a16="http://schemas.microsoft.com/office/drawing/2014/main" id="{68F17636-03AB-7CDB-CC51-A93722D4F1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7423" y="3172415"/>
            <a:ext cx="648279" cy="370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3">
            <a:extLst>
              <a:ext uri="{FF2B5EF4-FFF2-40B4-BE49-F238E27FC236}">
                <a16:creationId xmlns:a16="http://schemas.microsoft.com/office/drawing/2014/main" id="{2BBD06A2-E0C0-CB9F-0ACA-D0BD9CE373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6369" y="3172415"/>
            <a:ext cx="382022" cy="370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">
            <a:extLst>
              <a:ext uri="{FF2B5EF4-FFF2-40B4-BE49-F238E27FC236}">
                <a16:creationId xmlns:a16="http://schemas.microsoft.com/office/drawing/2014/main" id="{E20D4811-8AE6-0ADA-1548-AC385E0C35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7362" y="3172415"/>
            <a:ext cx="509362" cy="370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24796D-ACDA-5C09-4A10-9C14F4A680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xecutive Summary</a:t>
            </a:r>
            <a:endParaRPr lang="en-US" noProof="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DD04E65-448C-50AD-46DC-D96D67CB9E8B}"/>
              </a:ext>
            </a:extLst>
          </p:cNvPr>
          <p:cNvSpPr txBox="1"/>
          <p:nvPr/>
        </p:nvSpPr>
        <p:spPr>
          <a:xfrm>
            <a:off x="9982200" y="109477"/>
            <a:ext cx="2053717" cy="57124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800" dirty="0"/>
              <a:t>Needs data from Excel fi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23E1391-6E42-D90E-1507-80CFA766AC0C}"/>
              </a:ext>
            </a:extLst>
          </p:cNvPr>
          <p:cNvSpPr txBox="1"/>
          <p:nvPr/>
        </p:nvSpPr>
        <p:spPr>
          <a:xfrm>
            <a:off x="2684518" y="2439398"/>
            <a:ext cx="721672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/>
              <a:t>CAD 59</a:t>
            </a:r>
            <a:endParaRPr lang="en-US" sz="1200" dirty="0"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83BC9D-9FD6-D2DD-7219-E89EEC992276}"/>
              </a:ext>
            </a:extLst>
          </p:cNvPr>
          <p:cNvSpPr txBox="1"/>
          <p:nvPr/>
        </p:nvSpPr>
        <p:spPr>
          <a:xfrm>
            <a:off x="2684518" y="2616980"/>
            <a:ext cx="934871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/>
              <a:t>CAD 7,020</a:t>
            </a:r>
            <a:endParaRPr lang="en-US" sz="1200" dirty="0">
              <a:latin typeface="+mj-lt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16B2AD9-D0BB-77E6-E988-1533C362C0C5}"/>
              </a:ext>
            </a:extLst>
          </p:cNvPr>
          <p:cNvSpPr txBox="1"/>
          <p:nvPr/>
        </p:nvSpPr>
        <p:spPr>
          <a:xfrm>
            <a:off x="2684518" y="2811551"/>
            <a:ext cx="994183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/>
              <a:t>Info needed</a:t>
            </a:r>
            <a:endParaRPr lang="en-US" sz="1200" dirty="0">
              <a:latin typeface="+mj-lt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265946C-0BEA-3340-41FE-5B8A007D3D1A}"/>
              </a:ext>
            </a:extLst>
          </p:cNvPr>
          <p:cNvSpPr txBox="1"/>
          <p:nvPr/>
        </p:nvSpPr>
        <p:spPr>
          <a:xfrm>
            <a:off x="2684518" y="2991592"/>
            <a:ext cx="934871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/>
              <a:t>CAD 7,020</a:t>
            </a:r>
            <a:endParaRPr lang="en-US" sz="1200" dirty="0">
              <a:latin typeface="+mj-lt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5D79531-49FF-35FA-E8F5-D2FB7CF4DB61}"/>
              </a:ext>
            </a:extLst>
          </p:cNvPr>
          <p:cNvSpPr txBox="1"/>
          <p:nvPr/>
        </p:nvSpPr>
        <p:spPr>
          <a:xfrm>
            <a:off x="2684518" y="3348693"/>
            <a:ext cx="1019831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>
                <a:latin typeface="+mj-lt"/>
              </a:rPr>
              <a:t>CAD 67,000</a:t>
            </a:r>
            <a:endParaRPr lang="en-US" sz="1200" dirty="0">
              <a:latin typeface="+mj-lt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A2A365C-443F-846D-E870-2F5D67B25D62}"/>
              </a:ext>
            </a:extLst>
          </p:cNvPr>
          <p:cNvSpPr txBox="1"/>
          <p:nvPr/>
        </p:nvSpPr>
        <p:spPr>
          <a:xfrm>
            <a:off x="2684518" y="3539553"/>
            <a:ext cx="1071127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/>
              <a:t>-CAD 66,941</a:t>
            </a:r>
            <a:endParaRPr lang="en-US" sz="1200" dirty="0">
              <a:latin typeface="+mj-lt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B5B3599-E3B3-82F3-3035-2A61B70FB2FD}"/>
              </a:ext>
            </a:extLst>
          </p:cNvPr>
          <p:cNvSpPr txBox="1"/>
          <p:nvPr/>
        </p:nvSpPr>
        <p:spPr>
          <a:xfrm>
            <a:off x="751088" y="4065271"/>
            <a:ext cx="1120820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400" dirty="0">
                <a:latin typeface="+mj-lt"/>
              </a:rPr>
              <a:t>-CAD 6,971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55D0A51-E75A-D6C6-62E7-8E0D01840CD7}"/>
              </a:ext>
            </a:extLst>
          </p:cNvPr>
          <p:cNvSpPr txBox="1"/>
          <p:nvPr/>
        </p:nvSpPr>
        <p:spPr>
          <a:xfrm>
            <a:off x="773007" y="4701888"/>
            <a:ext cx="1128835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400">
                <a:latin typeface="+mj-lt"/>
              </a:rPr>
              <a:t>-CAD 3,000</a:t>
            </a:r>
            <a:endParaRPr lang="en-US" sz="1400" dirty="0">
              <a:latin typeface="+mj-lt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BF2A721-87FA-E136-EE31-397AB4C00677}"/>
              </a:ext>
            </a:extLst>
          </p:cNvPr>
          <p:cNvSpPr txBox="1"/>
          <p:nvPr/>
        </p:nvSpPr>
        <p:spPr>
          <a:xfrm>
            <a:off x="751088" y="5352334"/>
            <a:ext cx="1260281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400">
                <a:latin typeface="+mj-lt"/>
              </a:rPr>
              <a:t>CAD 756,000</a:t>
            </a:r>
            <a:endParaRPr lang="en-US" sz="1400" dirty="0">
              <a:latin typeface="+mj-lt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670A965-CD19-EDCE-FE3F-7215CBD9DD1F}"/>
              </a:ext>
            </a:extLst>
          </p:cNvPr>
          <p:cNvSpPr txBox="1"/>
          <p:nvPr/>
        </p:nvSpPr>
        <p:spPr>
          <a:xfrm>
            <a:off x="6816254" y="3080639"/>
            <a:ext cx="1019831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/>
              <a:t>CAD 90,000</a:t>
            </a:r>
            <a:endParaRPr lang="en-US" sz="1200" dirty="0">
              <a:latin typeface="+mj-lt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B0328A3-70EA-553F-36BF-157378EFFC36}"/>
              </a:ext>
            </a:extLst>
          </p:cNvPr>
          <p:cNvSpPr txBox="1"/>
          <p:nvPr/>
        </p:nvSpPr>
        <p:spPr>
          <a:xfrm>
            <a:off x="6816254" y="3258421"/>
            <a:ext cx="1019831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/>
              <a:t>CAD 23,000</a:t>
            </a:r>
            <a:endParaRPr lang="en-US" sz="1200" dirty="0">
              <a:latin typeface="+mj-lt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19C095F-777E-CADA-27F6-F66958A55F01}"/>
              </a:ext>
            </a:extLst>
          </p:cNvPr>
          <p:cNvSpPr txBox="1"/>
          <p:nvPr/>
        </p:nvSpPr>
        <p:spPr>
          <a:xfrm>
            <a:off x="6816254" y="3442197"/>
            <a:ext cx="636713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/>
              <a:t>CAD 0</a:t>
            </a:r>
            <a:endParaRPr lang="en-US" sz="1200" dirty="0">
              <a:latin typeface="+mj-lt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63A14FF-C3AE-1ED0-AD4B-F5E8B346C570}"/>
              </a:ext>
            </a:extLst>
          </p:cNvPr>
          <p:cNvSpPr txBox="1"/>
          <p:nvPr/>
        </p:nvSpPr>
        <p:spPr>
          <a:xfrm>
            <a:off x="6816254" y="3625973"/>
            <a:ext cx="1019831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/>
              <a:t>CAD 23,000</a:t>
            </a:r>
            <a:endParaRPr lang="en-US" sz="1200" dirty="0">
              <a:latin typeface="+mj-lt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69521DC-C2EC-E429-E841-508756E339CF}"/>
              </a:ext>
            </a:extLst>
          </p:cNvPr>
          <p:cNvSpPr txBox="1"/>
          <p:nvPr/>
        </p:nvSpPr>
        <p:spPr>
          <a:xfrm>
            <a:off x="6816254" y="3988620"/>
            <a:ext cx="1008418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/>
              <a:t>CAD 11,000</a:t>
            </a:r>
            <a:endParaRPr lang="en-US" sz="1200" dirty="0">
              <a:latin typeface="+mj-lt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20CD020-D530-5407-2831-558CD9DE3B37}"/>
              </a:ext>
            </a:extLst>
          </p:cNvPr>
          <p:cNvSpPr txBox="1"/>
          <p:nvPr/>
        </p:nvSpPr>
        <p:spPr>
          <a:xfrm>
            <a:off x="6816254" y="4173120"/>
            <a:ext cx="1019831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/>
              <a:t>CAD 79,000</a:t>
            </a:r>
            <a:endParaRPr lang="en-US" sz="1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746088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7050F5-0F8E-2B6C-F830-1F3962025C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E55B5CA-47A6-4524-71BD-B9EE8DE752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34" y="332997"/>
            <a:ext cx="11376025" cy="792538"/>
          </a:xfrm>
        </p:spPr>
        <p:txBody>
          <a:bodyPr/>
          <a:lstStyle/>
          <a:p>
            <a:r>
              <a:rPr lang="en-US" dirty="0"/>
              <a:t>Recommended hilti solutions </a:t>
            </a:r>
            <a:r>
              <a:rPr lang="en-US" sz="1800" dirty="0">
                <a:solidFill>
                  <a:schemeClr val="accent4"/>
                </a:solidFill>
                <a:cs typeface="Arial" pitchFamily="34" charset="0"/>
              </a:rPr>
              <a:t>system solutions</a:t>
            </a:r>
            <a:br>
              <a:rPr lang="en-US" sz="1400" dirty="0"/>
            </a:b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2B81EAA-E5F5-8ACB-A82C-28E80ECE3E7B}"/>
              </a:ext>
            </a:extLst>
          </p:cNvPr>
          <p:cNvSpPr/>
          <p:nvPr/>
        </p:nvSpPr>
        <p:spPr>
          <a:xfrm>
            <a:off x="4301122" y="1125537"/>
            <a:ext cx="3588385" cy="505602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24" name="Right Triangle 23">
            <a:extLst>
              <a:ext uri="{FF2B5EF4-FFF2-40B4-BE49-F238E27FC236}">
                <a16:creationId xmlns:a16="http://schemas.microsoft.com/office/drawing/2014/main" id="{7FC696AE-5256-3576-5C67-A4C86D8DB1C7}"/>
              </a:ext>
            </a:extLst>
          </p:cNvPr>
          <p:cNvSpPr/>
          <p:nvPr/>
        </p:nvSpPr>
        <p:spPr>
          <a:xfrm rot="5400000">
            <a:off x="4300445" y="1126056"/>
            <a:ext cx="1828800" cy="1828800"/>
          </a:xfrm>
          <a:prstGeom prst="rtTriangle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3BDC7C3-FB02-ECD0-0409-B2C985D6A70B}"/>
              </a:ext>
            </a:extLst>
          </p:cNvPr>
          <p:cNvSpPr txBox="1"/>
          <p:nvPr/>
        </p:nvSpPr>
        <p:spPr>
          <a:xfrm>
            <a:off x="4373835" y="1117992"/>
            <a:ext cx="186662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b="1">
                <a:solidFill>
                  <a:schemeClr val="accent4"/>
                </a:solidFill>
                <a:cs typeface="Arial" pitchFamily="34" charset="0"/>
              </a:defRPr>
            </a:lvl1pPr>
          </a:lstStyle>
          <a:p>
            <a:r>
              <a:rPr lang="en-US" altLang="ko-KR" sz="1800" dirty="0"/>
              <a:t>Work Package Solutions</a:t>
            </a:r>
            <a:endParaRPr lang="ko-KR" altLang="en-US" sz="18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26E780E-B73E-3E2F-941E-A05E7576DE21}"/>
              </a:ext>
            </a:extLst>
          </p:cNvPr>
          <p:cNvSpPr txBox="1"/>
          <p:nvPr/>
        </p:nvSpPr>
        <p:spPr>
          <a:xfrm>
            <a:off x="4955562" y="2695840"/>
            <a:ext cx="3159985" cy="17697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400" b="1" dirty="0">
                <a:latin typeface="+mj-lt"/>
              </a:rPr>
              <a:t>Return on investment</a:t>
            </a:r>
          </a:p>
          <a:p>
            <a:pPr marL="0" indent="0">
              <a:buNone/>
            </a:pPr>
            <a:endParaRPr lang="en-US" sz="1100" b="1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current cos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investment cost:</a:t>
            </a:r>
          </a:p>
          <a:p>
            <a:pPr marL="781035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One-time Fee:</a:t>
            </a:r>
            <a:endParaRPr lang="en-US" sz="1200" dirty="0">
              <a:cs typeface="Arial"/>
            </a:endParaRPr>
          </a:p>
          <a:p>
            <a:pPr marL="781035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Annual Fee:</a:t>
            </a:r>
            <a:endParaRPr lang="en-US" sz="1200" dirty="0">
              <a:cs typeface="Arial"/>
            </a:endParaRPr>
          </a:p>
          <a:p>
            <a:pPr marL="781035" lvl="1" indent="-171450">
              <a:buFont typeface="Arial" panose="020B0604020202020204" pitchFamily="34" charset="0"/>
              <a:buChar char="•"/>
            </a:pPr>
            <a:endParaRPr lang="en-US" sz="12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future cos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potential savings:</a:t>
            </a:r>
            <a:r>
              <a:rPr lang="en-US" sz="1200" dirty="0"/>
              <a:t> </a:t>
            </a:r>
            <a:endParaRPr lang="en-US" sz="2000" dirty="0">
              <a:latin typeface="+mj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00879B1-811F-37D7-D466-2EF70EB47ABA}"/>
              </a:ext>
            </a:extLst>
          </p:cNvPr>
          <p:cNvSpPr/>
          <p:nvPr/>
        </p:nvSpPr>
        <p:spPr>
          <a:xfrm>
            <a:off x="8190174" y="1125537"/>
            <a:ext cx="3588385" cy="505602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9" name="Picture 2">
            <a:extLst>
              <a:ext uri="{FF2B5EF4-FFF2-40B4-BE49-F238E27FC236}">
                <a16:creationId xmlns:a16="http://schemas.microsoft.com/office/drawing/2014/main" id="{F06C2292-1E29-DF96-868C-135B17C00C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7423" y="3172415"/>
            <a:ext cx="648279" cy="370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3">
            <a:extLst>
              <a:ext uri="{FF2B5EF4-FFF2-40B4-BE49-F238E27FC236}">
                <a16:creationId xmlns:a16="http://schemas.microsoft.com/office/drawing/2014/main" id="{5CD4F0FD-183C-4631-F5CF-576F47849F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6369" y="3172415"/>
            <a:ext cx="382022" cy="370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">
            <a:extLst>
              <a:ext uri="{FF2B5EF4-FFF2-40B4-BE49-F238E27FC236}">
                <a16:creationId xmlns:a16="http://schemas.microsoft.com/office/drawing/2014/main" id="{7B8C3163-84B7-E181-505F-2798A9C017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7362" y="3172415"/>
            <a:ext cx="509362" cy="370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08FA2B-1999-F127-E9D7-2CFDED8BD3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xecutive Summary</a:t>
            </a:r>
            <a:endParaRPr lang="en-US" noProof="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AD546C9-5931-F008-F495-E2D44D8484AE}"/>
              </a:ext>
            </a:extLst>
          </p:cNvPr>
          <p:cNvSpPr txBox="1"/>
          <p:nvPr/>
        </p:nvSpPr>
        <p:spPr>
          <a:xfrm>
            <a:off x="9982200" y="109477"/>
            <a:ext cx="2053717" cy="57124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800" dirty="0"/>
              <a:t>Needs data from Excel fil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388564F-C91C-A170-E798-66BCF3AA1BEF}"/>
              </a:ext>
            </a:extLst>
          </p:cNvPr>
          <p:cNvSpPr txBox="1"/>
          <p:nvPr/>
        </p:nvSpPr>
        <p:spPr>
          <a:xfrm>
            <a:off x="6816254" y="3080639"/>
            <a:ext cx="1019831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/>
              <a:t>CAD 90,000</a:t>
            </a:r>
            <a:endParaRPr lang="en-US" sz="1200" dirty="0">
              <a:latin typeface="+mj-lt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DFE5B33-E4BD-E724-0A6A-4B1C1F1A03A9}"/>
              </a:ext>
            </a:extLst>
          </p:cNvPr>
          <p:cNvSpPr txBox="1"/>
          <p:nvPr/>
        </p:nvSpPr>
        <p:spPr>
          <a:xfrm>
            <a:off x="6816254" y="3258421"/>
            <a:ext cx="1019831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/>
              <a:t>CAD 23,000</a:t>
            </a:r>
            <a:endParaRPr lang="en-US" sz="1200" dirty="0">
              <a:latin typeface="+mj-lt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3458613-E9FC-2AF1-70F5-CE9660D3C4CC}"/>
              </a:ext>
            </a:extLst>
          </p:cNvPr>
          <p:cNvSpPr txBox="1"/>
          <p:nvPr/>
        </p:nvSpPr>
        <p:spPr>
          <a:xfrm>
            <a:off x="6816254" y="3442197"/>
            <a:ext cx="636713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/>
              <a:t>CAD 0</a:t>
            </a:r>
            <a:endParaRPr lang="en-US" sz="1200" dirty="0">
              <a:latin typeface="+mj-lt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A6E429E-3D92-CBB7-91CB-082BA843683A}"/>
              </a:ext>
            </a:extLst>
          </p:cNvPr>
          <p:cNvSpPr txBox="1"/>
          <p:nvPr/>
        </p:nvSpPr>
        <p:spPr>
          <a:xfrm>
            <a:off x="6816254" y="3625973"/>
            <a:ext cx="1019831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/>
              <a:t>CAD 23,000</a:t>
            </a:r>
            <a:endParaRPr lang="en-US" sz="1200" dirty="0">
              <a:latin typeface="+mj-lt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E8A448A-B07D-D644-0D0F-5FCDEA9A7116}"/>
              </a:ext>
            </a:extLst>
          </p:cNvPr>
          <p:cNvSpPr txBox="1"/>
          <p:nvPr/>
        </p:nvSpPr>
        <p:spPr>
          <a:xfrm>
            <a:off x="6816254" y="3988620"/>
            <a:ext cx="1008418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/>
              <a:t>CAD 11,000</a:t>
            </a:r>
            <a:endParaRPr lang="en-US" sz="1200" dirty="0">
              <a:latin typeface="+mj-lt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9256789-0DB3-4EB2-B9D6-3359C4E3149C}"/>
              </a:ext>
            </a:extLst>
          </p:cNvPr>
          <p:cNvSpPr txBox="1"/>
          <p:nvPr/>
        </p:nvSpPr>
        <p:spPr>
          <a:xfrm>
            <a:off x="6816254" y="4173120"/>
            <a:ext cx="1019831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/>
              <a:t>CAD 79,000</a:t>
            </a:r>
            <a:endParaRPr lang="en-US" sz="1200" dirty="0">
              <a:latin typeface="+mj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0F7CBA4-4476-597C-A5BD-03E40263132C}"/>
              </a:ext>
            </a:extLst>
          </p:cNvPr>
          <p:cNvSpPr/>
          <p:nvPr/>
        </p:nvSpPr>
        <p:spPr>
          <a:xfrm>
            <a:off x="413441" y="1125535"/>
            <a:ext cx="3588385" cy="505602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7" name="Right Triangle 16">
            <a:extLst>
              <a:ext uri="{FF2B5EF4-FFF2-40B4-BE49-F238E27FC236}">
                <a16:creationId xmlns:a16="http://schemas.microsoft.com/office/drawing/2014/main" id="{7A059845-ACE9-F276-9279-0D14ACAC3D9A}"/>
              </a:ext>
            </a:extLst>
          </p:cNvPr>
          <p:cNvSpPr/>
          <p:nvPr/>
        </p:nvSpPr>
        <p:spPr>
          <a:xfrm rot="5400000">
            <a:off x="419412" y="1126054"/>
            <a:ext cx="1828800" cy="1828800"/>
          </a:xfrm>
          <a:prstGeom prst="rtTriangle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AB3981F-C029-66FF-948D-EB77CF8F7DB2}"/>
              </a:ext>
            </a:extLst>
          </p:cNvPr>
          <p:cNvSpPr txBox="1"/>
          <p:nvPr/>
        </p:nvSpPr>
        <p:spPr>
          <a:xfrm>
            <a:off x="403905" y="1125535"/>
            <a:ext cx="219637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b="1">
                <a:solidFill>
                  <a:schemeClr val="accent4"/>
                </a:solidFill>
                <a:cs typeface="Arial" pitchFamily="34" charset="0"/>
              </a:defRPr>
            </a:lvl1pPr>
          </a:lstStyle>
          <a:p>
            <a:r>
              <a:rPr lang="en-US" altLang="ko-KR" sz="1800" dirty="0"/>
              <a:t>High </a:t>
            </a:r>
          </a:p>
          <a:p>
            <a:r>
              <a:rPr lang="en-US" altLang="ko-KR" sz="1800" dirty="0"/>
              <a:t>Performing</a:t>
            </a:r>
          </a:p>
          <a:p>
            <a:r>
              <a:rPr lang="en-US" altLang="ko-KR" sz="1800" dirty="0"/>
              <a:t>Tools</a:t>
            </a:r>
          </a:p>
        </p:txBody>
      </p:sp>
      <p:pic>
        <p:nvPicPr>
          <p:cNvPr id="31" name="Picture 6">
            <a:extLst>
              <a:ext uri="{FF2B5EF4-FFF2-40B4-BE49-F238E27FC236}">
                <a16:creationId xmlns:a16="http://schemas.microsoft.com/office/drawing/2014/main" id="{2EECDBC2-54FF-8473-A1F1-ADD01DB252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4131" y="1329444"/>
            <a:ext cx="874278" cy="186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D7D020B5-4268-5027-431A-3BA89805209E}"/>
              </a:ext>
            </a:extLst>
          </p:cNvPr>
          <p:cNvSpPr txBox="1"/>
          <p:nvPr/>
        </p:nvSpPr>
        <p:spPr>
          <a:xfrm>
            <a:off x="752607" y="2060351"/>
            <a:ext cx="3159985" cy="176971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400" b="1" dirty="0">
                <a:latin typeface="+mj-lt"/>
              </a:rPr>
              <a:t>Return on investment</a:t>
            </a:r>
          </a:p>
          <a:p>
            <a:pPr marL="0" indent="0">
              <a:buNone/>
            </a:pPr>
            <a:endParaRPr lang="en-US" sz="1100" b="1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current cos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investment cost:</a:t>
            </a:r>
          </a:p>
          <a:p>
            <a:pPr marL="781035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One-time Fee:</a:t>
            </a:r>
            <a:endParaRPr lang="en-US" sz="1200" dirty="0">
              <a:cs typeface="Arial"/>
            </a:endParaRPr>
          </a:p>
          <a:p>
            <a:pPr marL="781035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Annual Fee:</a:t>
            </a:r>
            <a:endParaRPr lang="en-US" sz="1200" dirty="0">
              <a:cs typeface="Arial"/>
            </a:endParaRPr>
          </a:p>
          <a:p>
            <a:pPr marL="781035" lvl="1" indent="-171450">
              <a:buFont typeface="Arial" panose="020B0604020202020204" pitchFamily="34" charset="0"/>
              <a:buChar char="•"/>
            </a:pPr>
            <a:endParaRPr lang="en-US" sz="12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future cos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potential savings: </a:t>
            </a:r>
            <a:endParaRPr lang="en-US" sz="2000" dirty="0">
              <a:latin typeface="+mj-lt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5565046-013E-DA30-5B1E-870DBDD3BF7E}"/>
              </a:ext>
            </a:extLst>
          </p:cNvPr>
          <p:cNvSpPr txBox="1"/>
          <p:nvPr/>
        </p:nvSpPr>
        <p:spPr>
          <a:xfrm>
            <a:off x="752607" y="4063720"/>
            <a:ext cx="3238500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latin typeface="+mj-lt"/>
              </a:rPr>
              <a:t>              estimated savings in </a:t>
            </a:r>
            <a:r>
              <a:rPr lang="en-US" sz="1400" b="1" dirty="0">
                <a:latin typeface="+mj-lt"/>
              </a:rPr>
              <a:t>Repair and Parts cost </a:t>
            </a:r>
            <a:r>
              <a:rPr lang="en-US" sz="1400" dirty="0">
                <a:latin typeface="+mj-lt"/>
              </a:rPr>
              <a:t>per year</a:t>
            </a:r>
          </a:p>
          <a:p>
            <a:endParaRPr lang="en-US" sz="1400" dirty="0">
              <a:latin typeface="+mj-lt"/>
            </a:endParaRPr>
          </a:p>
          <a:p>
            <a:r>
              <a:rPr lang="en-US" sz="1400" dirty="0">
                <a:latin typeface="+mj-lt"/>
              </a:rPr>
              <a:t>              estimated savings in </a:t>
            </a:r>
            <a:r>
              <a:rPr lang="en-US" sz="1400" b="1" dirty="0">
                <a:latin typeface="+mj-lt"/>
              </a:rPr>
              <a:t>Operational cost </a:t>
            </a:r>
            <a:r>
              <a:rPr lang="en-US" sz="1400" dirty="0">
                <a:latin typeface="+mj-lt"/>
              </a:rPr>
              <a:t>per year</a:t>
            </a:r>
          </a:p>
          <a:p>
            <a:endParaRPr lang="en-US" sz="1400" dirty="0">
              <a:latin typeface="+mj-lt"/>
            </a:endParaRPr>
          </a:p>
          <a:p>
            <a:r>
              <a:rPr lang="en-US" sz="1400" dirty="0">
                <a:latin typeface="+mj-lt"/>
              </a:rPr>
              <a:t>                 estimated labor savings,  </a:t>
            </a:r>
            <a:r>
              <a:rPr lang="en-US" sz="1400" b="1" dirty="0">
                <a:latin typeface="+mj-lt"/>
              </a:rPr>
              <a:t>Application Productivity</a:t>
            </a:r>
            <a:r>
              <a:rPr lang="en-US" sz="1400" dirty="0">
                <a:latin typeface="+mj-lt"/>
              </a:rPr>
              <a:t> per year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B2F5EDF-8F99-B88B-0F45-7813305CB86C}"/>
              </a:ext>
            </a:extLst>
          </p:cNvPr>
          <p:cNvSpPr txBox="1"/>
          <p:nvPr/>
        </p:nvSpPr>
        <p:spPr>
          <a:xfrm>
            <a:off x="2160666" y="2439398"/>
            <a:ext cx="950901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 dirty="0"/>
              <a:t>$1,053,000</a:t>
            </a:r>
            <a:endParaRPr lang="en-US" sz="1200" dirty="0">
              <a:latin typeface="+mj-lt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E6C934A-88A4-F739-C8FF-03330D268527}"/>
              </a:ext>
            </a:extLst>
          </p:cNvPr>
          <p:cNvSpPr txBox="1"/>
          <p:nvPr/>
        </p:nvSpPr>
        <p:spPr>
          <a:xfrm>
            <a:off x="2465466" y="2616980"/>
            <a:ext cx="737702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 dirty="0"/>
              <a:t>$80,000</a:t>
            </a:r>
            <a:endParaRPr lang="en-US" sz="1200" dirty="0">
              <a:latin typeface="+mj-lt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6D3E690-7AED-F524-CF8A-5E8E1A6BBCF6}"/>
              </a:ext>
            </a:extLst>
          </p:cNvPr>
          <p:cNvSpPr txBox="1"/>
          <p:nvPr/>
        </p:nvSpPr>
        <p:spPr>
          <a:xfrm>
            <a:off x="2541666" y="2811551"/>
            <a:ext cx="364202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 dirty="0"/>
              <a:t>$ -</a:t>
            </a:r>
            <a:endParaRPr lang="en-US" sz="1200" dirty="0">
              <a:latin typeface="+mj-lt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BD29B8C-D959-132D-F5D3-67EFC21E7DDB}"/>
              </a:ext>
            </a:extLst>
          </p:cNvPr>
          <p:cNvSpPr txBox="1"/>
          <p:nvPr/>
        </p:nvSpPr>
        <p:spPr>
          <a:xfrm>
            <a:off x="2439771" y="2991592"/>
            <a:ext cx="737702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 dirty="0"/>
              <a:t>$20,000</a:t>
            </a:r>
            <a:endParaRPr lang="en-US" sz="1200" dirty="0">
              <a:latin typeface="+mj-lt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E3DD915-F158-B088-942B-567D9567FEF1}"/>
              </a:ext>
            </a:extLst>
          </p:cNvPr>
          <p:cNvSpPr txBox="1"/>
          <p:nvPr/>
        </p:nvSpPr>
        <p:spPr>
          <a:xfrm>
            <a:off x="2084466" y="3348693"/>
            <a:ext cx="737702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 dirty="0">
                <a:latin typeface="+mj-lt"/>
              </a:rPr>
              <a:t>$47,000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471F5A4-C58F-A3F0-6191-A87DD76C412E}"/>
              </a:ext>
            </a:extLst>
          </p:cNvPr>
          <p:cNvSpPr txBox="1"/>
          <p:nvPr/>
        </p:nvSpPr>
        <p:spPr>
          <a:xfrm>
            <a:off x="2515971" y="3539553"/>
            <a:ext cx="822661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 dirty="0"/>
              <a:t>$426,400</a:t>
            </a:r>
            <a:endParaRPr lang="en-US" sz="1200" dirty="0">
              <a:latin typeface="+mj-lt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89558CF-59D1-0204-82EE-D545076D8C09}"/>
              </a:ext>
            </a:extLst>
          </p:cNvPr>
          <p:cNvSpPr txBox="1"/>
          <p:nvPr/>
        </p:nvSpPr>
        <p:spPr>
          <a:xfrm>
            <a:off x="752459" y="4065271"/>
            <a:ext cx="731290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400" dirty="0">
                <a:latin typeface="+mj-lt"/>
              </a:rPr>
              <a:t>$3,000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D376942-6A26-E164-29A0-A59830A26372}"/>
              </a:ext>
            </a:extLst>
          </p:cNvPr>
          <p:cNvSpPr txBox="1"/>
          <p:nvPr/>
        </p:nvSpPr>
        <p:spPr>
          <a:xfrm>
            <a:off x="671508" y="4701888"/>
            <a:ext cx="930063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400" dirty="0">
                <a:latin typeface="+mj-lt"/>
              </a:rPr>
              <a:t>$163,000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8F16441-842B-45FA-BFA9-67576CA962EB}"/>
              </a:ext>
            </a:extLst>
          </p:cNvPr>
          <p:cNvSpPr txBox="1"/>
          <p:nvPr/>
        </p:nvSpPr>
        <p:spPr>
          <a:xfrm>
            <a:off x="752459" y="5352334"/>
            <a:ext cx="930063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400" dirty="0">
                <a:latin typeface="+mj-lt"/>
              </a:rPr>
              <a:t>$248,400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3A69FA8-BEE5-5E00-42DA-097C57FE1304}"/>
              </a:ext>
            </a:extLst>
          </p:cNvPr>
          <p:cNvSpPr/>
          <p:nvPr/>
        </p:nvSpPr>
        <p:spPr>
          <a:xfrm>
            <a:off x="413441" y="1125535"/>
            <a:ext cx="3588385" cy="505602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F358954-4A13-55F5-D4CB-51EF4329EBA7}"/>
              </a:ext>
            </a:extLst>
          </p:cNvPr>
          <p:cNvSpPr txBox="1"/>
          <p:nvPr/>
        </p:nvSpPr>
        <p:spPr>
          <a:xfrm>
            <a:off x="384566" y="1125535"/>
            <a:ext cx="182660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b="1">
                <a:solidFill>
                  <a:schemeClr val="accent4"/>
                </a:solidFill>
                <a:cs typeface="Arial" pitchFamily="34" charset="0"/>
              </a:defRPr>
            </a:lvl1pPr>
          </a:lstStyle>
          <a:p>
            <a:r>
              <a:rPr lang="en-US" altLang="ko-KR" sz="1800" dirty="0"/>
              <a:t>Benefits</a:t>
            </a:r>
          </a:p>
          <a:p>
            <a:r>
              <a:rPr lang="en-US" altLang="ko-KR" sz="1200" b="0" dirty="0"/>
              <a:t>High Performing Tools</a:t>
            </a:r>
          </a:p>
          <a:p>
            <a:endParaRPr lang="en-US" altLang="ko-KR" sz="1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FBA8531-10F7-708A-49F8-DEA33BD53890}"/>
              </a:ext>
            </a:extLst>
          </p:cNvPr>
          <p:cNvSpPr txBox="1"/>
          <p:nvPr/>
        </p:nvSpPr>
        <p:spPr>
          <a:xfrm>
            <a:off x="1976388" y="1125535"/>
            <a:ext cx="203497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en-US" sz="1600" b="1" dirty="0">
                <a:solidFill>
                  <a:schemeClr val="accent1"/>
                </a:solidFill>
              </a:rPr>
              <a:t>ROI</a:t>
            </a:r>
            <a:endParaRPr lang="en-US" sz="1200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37901C5-F01B-1080-32E8-70569B4723A8}"/>
              </a:ext>
            </a:extLst>
          </p:cNvPr>
          <p:cNvSpPr txBox="1"/>
          <p:nvPr/>
        </p:nvSpPr>
        <p:spPr>
          <a:xfrm>
            <a:off x="2251427" y="1117992"/>
            <a:ext cx="1380507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accent1"/>
                </a:solidFill>
              </a:rPr>
              <a:t>-CAD 73,961</a:t>
            </a:r>
            <a:endParaRPr lang="en-US" sz="12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24C9C19-0AA5-0D92-8C7C-B381A73EB2F2}"/>
              </a:ext>
            </a:extLst>
          </p:cNvPr>
          <p:cNvSpPr txBox="1"/>
          <p:nvPr/>
        </p:nvSpPr>
        <p:spPr>
          <a:xfrm>
            <a:off x="919480" y="2747685"/>
            <a:ext cx="2667000" cy="1631216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Latest innovation and most productive tools for your teams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Monthly usage fees replace large, upfront cash expenses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Unexpected costs are covered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Quick and easy process to add tools to your Fleet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000" dirty="0">
              <a:latin typeface="+mj-lt"/>
              <a:ea typeface="League Spartan" charset="0"/>
              <a:cs typeface="Poppins" pitchFamily="2" charset="77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CA93F0D1-5101-F15A-48F3-7E2D6C4468E0}"/>
              </a:ext>
            </a:extLst>
          </p:cNvPr>
          <p:cNvGrpSpPr/>
          <p:nvPr/>
        </p:nvGrpSpPr>
        <p:grpSpPr>
          <a:xfrm>
            <a:off x="2269272" y="5380809"/>
            <a:ext cx="2073612" cy="600065"/>
            <a:chOff x="2242760" y="1173168"/>
            <a:chExt cx="2073612" cy="600065"/>
          </a:xfrm>
        </p:grpSpPr>
        <p:pic>
          <p:nvPicPr>
            <p:cNvPr id="59" name="Picture 6">
              <a:extLst>
                <a:ext uri="{FF2B5EF4-FFF2-40B4-BE49-F238E27FC236}">
                  <a16:creationId xmlns:a16="http://schemas.microsoft.com/office/drawing/2014/main" id="{D1158592-1EBB-3ADD-DE34-DA334E1378D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42760" y="1329444"/>
              <a:ext cx="874278" cy="1867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2" descr="Fleet Management - Hilti Corporation">
              <a:extLst>
                <a:ext uri="{FF2B5EF4-FFF2-40B4-BE49-F238E27FC236}">
                  <a16:creationId xmlns:a16="http://schemas.microsoft.com/office/drawing/2014/main" id="{C7D79156-AA64-C349-ED75-088DD2B2E89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041" t="1" b="25319"/>
            <a:stretch/>
          </p:blipFill>
          <p:spPr bwMode="auto">
            <a:xfrm>
              <a:off x="2801121" y="1173168"/>
              <a:ext cx="1515251" cy="6000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861402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AA19B0-8DD8-B25A-BF63-83E9EA6277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40C6A66-DBD7-954B-204D-E728132310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34" y="332997"/>
            <a:ext cx="11376025" cy="792538"/>
          </a:xfrm>
        </p:spPr>
        <p:txBody>
          <a:bodyPr/>
          <a:lstStyle/>
          <a:p>
            <a:r>
              <a:rPr lang="en-US" dirty="0"/>
              <a:t>Recommended hilti solutions </a:t>
            </a:r>
            <a:r>
              <a:rPr lang="en-US" sz="1800" dirty="0">
                <a:solidFill>
                  <a:schemeClr val="accent4"/>
                </a:solidFill>
                <a:cs typeface="Arial" pitchFamily="34" charset="0"/>
              </a:rPr>
              <a:t>system solutions</a:t>
            </a:r>
            <a:br>
              <a:rPr lang="en-US" sz="1400" dirty="0"/>
            </a:br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879FD6-9564-38FC-A349-55EEB8AE03D8}"/>
              </a:ext>
            </a:extLst>
          </p:cNvPr>
          <p:cNvSpPr/>
          <p:nvPr/>
        </p:nvSpPr>
        <p:spPr>
          <a:xfrm>
            <a:off x="8190174" y="1125537"/>
            <a:ext cx="3588385" cy="505602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9" name="Picture 2">
            <a:extLst>
              <a:ext uri="{FF2B5EF4-FFF2-40B4-BE49-F238E27FC236}">
                <a16:creationId xmlns:a16="http://schemas.microsoft.com/office/drawing/2014/main" id="{98D1F1DE-1655-70A1-6BD5-C14E387695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7423" y="3172415"/>
            <a:ext cx="648279" cy="370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3">
            <a:extLst>
              <a:ext uri="{FF2B5EF4-FFF2-40B4-BE49-F238E27FC236}">
                <a16:creationId xmlns:a16="http://schemas.microsoft.com/office/drawing/2014/main" id="{920514C2-5593-4D63-92DD-4D91DD408D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6369" y="3172415"/>
            <a:ext cx="382022" cy="370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">
            <a:extLst>
              <a:ext uri="{FF2B5EF4-FFF2-40B4-BE49-F238E27FC236}">
                <a16:creationId xmlns:a16="http://schemas.microsoft.com/office/drawing/2014/main" id="{FC0BCFB9-BC1D-82B7-FEA8-52EBACE467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7362" y="3172415"/>
            <a:ext cx="509362" cy="370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94FA0C-52EC-CA82-B457-25D0A68A5E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xecutive Summary</a:t>
            </a:r>
            <a:endParaRPr lang="en-US" noProof="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F55C4E2-9623-0C93-E881-B36C33DC5B59}"/>
              </a:ext>
            </a:extLst>
          </p:cNvPr>
          <p:cNvSpPr txBox="1"/>
          <p:nvPr/>
        </p:nvSpPr>
        <p:spPr>
          <a:xfrm>
            <a:off x="9982200" y="109477"/>
            <a:ext cx="2053717" cy="57124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800" dirty="0"/>
              <a:t>Needs data from Excel fi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EBBB0D2-088B-AE46-5953-5E0DBEA9B4EC}"/>
              </a:ext>
            </a:extLst>
          </p:cNvPr>
          <p:cNvSpPr/>
          <p:nvPr/>
        </p:nvSpPr>
        <p:spPr>
          <a:xfrm>
            <a:off x="413441" y="1125535"/>
            <a:ext cx="3588385" cy="505602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7" name="Right Triangle 16">
            <a:extLst>
              <a:ext uri="{FF2B5EF4-FFF2-40B4-BE49-F238E27FC236}">
                <a16:creationId xmlns:a16="http://schemas.microsoft.com/office/drawing/2014/main" id="{3AB96B8C-47E9-8582-6765-87D782F917ED}"/>
              </a:ext>
            </a:extLst>
          </p:cNvPr>
          <p:cNvSpPr/>
          <p:nvPr/>
        </p:nvSpPr>
        <p:spPr>
          <a:xfrm rot="5400000">
            <a:off x="419412" y="1126054"/>
            <a:ext cx="1828800" cy="1828800"/>
          </a:xfrm>
          <a:prstGeom prst="rtTriangle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F8CE8B2-812E-FDEC-37B0-1DB7C8894F73}"/>
              </a:ext>
            </a:extLst>
          </p:cNvPr>
          <p:cNvSpPr txBox="1"/>
          <p:nvPr/>
        </p:nvSpPr>
        <p:spPr>
          <a:xfrm>
            <a:off x="403905" y="1125535"/>
            <a:ext cx="219637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b="1">
                <a:solidFill>
                  <a:schemeClr val="accent4"/>
                </a:solidFill>
                <a:cs typeface="Arial" pitchFamily="34" charset="0"/>
              </a:defRPr>
            </a:lvl1pPr>
          </a:lstStyle>
          <a:p>
            <a:r>
              <a:rPr lang="en-US" altLang="ko-KR" sz="1800" dirty="0"/>
              <a:t>High </a:t>
            </a:r>
          </a:p>
          <a:p>
            <a:r>
              <a:rPr lang="en-US" altLang="ko-KR" sz="1800" dirty="0"/>
              <a:t>Performing</a:t>
            </a:r>
          </a:p>
          <a:p>
            <a:r>
              <a:rPr lang="en-US" altLang="ko-KR" sz="1800" dirty="0"/>
              <a:t>Tools</a:t>
            </a:r>
          </a:p>
        </p:txBody>
      </p:sp>
      <p:pic>
        <p:nvPicPr>
          <p:cNvPr id="31" name="Picture 6">
            <a:extLst>
              <a:ext uri="{FF2B5EF4-FFF2-40B4-BE49-F238E27FC236}">
                <a16:creationId xmlns:a16="http://schemas.microsoft.com/office/drawing/2014/main" id="{2403D420-0503-2EFA-CA18-E5DD76EBC8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4131" y="1329444"/>
            <a:ext cx="874278" cy="186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809A4217-38AC-D1FC-1E4E-C8D84A16526F}"/>
              </a:ext>
            </a:extLst>
          </p:cNvPr>
          <p:cNvSpPr txBox="1"/>
          <p:nvPr/>
        </p:nvSpPr>
        <p:spPr>
          <a:xfrm>
            <a:off x="752607" y="2060351"/>
            <a:ext cx="3159985" cy="176971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400" b="1" dirty="0">
                <a:latin typeface="+mj-lt"/>
              </a:rPr>
              <a:t>Return on investment</a:t>
            </a:r>
          </a:p>
          <a:p>
            <a:pPr marL="0" indent="0">
              <a:buNone/>
            </a:pPr>
            <a:endParaRPr lang="en-US" sz="1100" b="1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current cos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investment cost:</a:t>
            </a:r>
          </a:p>
          <a:p>
            <a:pPr marL="781035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One-time Fee:</a:t>
            </a:r>
            <a:endParaRPr lang="en-US" sz="1200" dirty="0">
              <a:cs typeface="Arial"/>
            </a:endParaRPr>
          </a:p>
          <a:p>
            <a:pPr marL="781035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Annual Fee:</a:t>
            </a:r>
            <a:endParaRPr lang="en-US" sz="1200" dirty="0">
              <a:cs typeface="Arial"/>
            </a:endParaRPr>
          </a:p>
          <a:p>
            <a:pPr marL="781035" lvl="1" indent="-171450">
              <a:buFont typeface="Arial" panose="020B0604020202020204" pitchFamily="34" charset="0"/>
              <a:buChar char="•"/>
            </a:pPr>
            <a:endParaRPr lang="en-US" sz="12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future cos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Total potential savings: </a:t>
            </a:r>
            <a:endParaRPr lang="en-US" sz="2000" dirty="0">
              <a:latin typeface="+mj-lt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5911151-5F3A-0CFA-D26F-DEF6B27F4997}"/>
              </a:ext>
            </a:extLst>
          </p:cNvPr>
          <p:cNvSpPr txBox="1"/>
          <p:nvPr/>
        </p:nvSpPr>
        <p:spPr>
          <a:xfrm>
            <a:off x="752607" y="4063720"/>
            <a:ext cx="3238500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latin typeface="+mj-lt"/>
              </a:rPr>
              <a:t>              estimated savings in </a:t>
            </a:r>
            <a:r>
              <a:rPr lang="en-US" sz="1400" b="1" dirty="0">
                <a:latin typeface="+mj-lt"/>
              </a:rPr>
              <a:t>Repair and Parts cost </a:t>
            </a:r>
            <a:r>
              <a:rPr lang="en-US" sz="1400" dirty="0">
                <a:latin typeface="+mj-lt"/>
              </a:rPr>
              <a:t>per year</a:t>
            </a:r>
          </a:p>
          <a:p>
            <a:endParaRPr lang="en-US" sz="1400" dirty="0">
              <a:latin typeface="+mj-lt"/>
            </a:endParaRPr>
          </a:p>
          <a:p>
            <a:r>
              <a:rPr lang="en-US" sz="1400" dirty="0">
                <a:latin typeface="+mj-lt"/>
              </a:rPr>
              <a:t>              estimated savings in </a:t>
            </a:r>
            <a:r>
              <a:rPr lang="en-US" sz="1400" b="1" dirty="0">
                <a:latin typeface="+mj-lt"/>
              </a:rPr>
              <a:t>Operational cost </a:t>
            </a:r>
            <a:r>
              <a:rPr lang="en-US" sz="1400" dirty="0">
                <a:latin typeface="+mj-lt"/>
              </a:rPr>
              <a:t>per year</a:t>
            </a:r>
          </a:p>
          <a:p>
            <a:endParaRPr lang="en-US" sz="1400" dirty="0">
              <a:latin typeface="+mj-lt"/>
            </a:endParaRPr>
          </a:p>
          <a:p>
            <a:r>
              <a:rPr lang="en-US" sz="1400" dirty="0">
                <a:latin typeface="+mj-lt"/>
              </a:rPr>
              <a:t>                 estimated labor savings,  </a:t>
            </a:r>
            <a:r>
              <a:rPr lang="en-US" sz="1400" b="1" dirty="0">
                <a:latin typeface="+mj-lt"/>
              </a:rPr>
              <a:t>Application Productivity</a:t>
            </a:r>
            <a:r>
              <a:rPr lang="en-US" sz="1400" dirty="0">
                <a:latin typeface="+mj-lt"/>
              </a:rPr>
              <a:t> per year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0D8BB47-7FB4-1A85-8974-D8A553E4185A}"/>
              </a:ext>
            </a:extLst>
          </p:cNvPr>
          <p:cNvSpPr txBox="1"/>
          <p:nvPr/>
        </p:nvSpPr>
        <p:spPr>
          <a:xfrm>
            <a:off x="2160666" y="2439398"/>
            <a:ext cx="950901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 dirty="0"/>
              <a:t>$1,053,000</a:t>
            </a:r>
            <a:endParaRPr lang="en-US" sz="1200" dirty="0">
              <a:latin typeface="+mj-lt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415AA10-A594-D4CF-3FE4-36064409CEDC}"/>
              </a:ext>
            </a:extLst>
          </p:cNvPr>
          <p:cNvSpPr txBox="1"/>
          <p:nvPr/>
        </p:nvSpPr>
        <p:spPr>
          <a:xfrm>
            <a:off x="2465466" y="2616980"/>
            <a:ext cx="737702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 dirty="0"/>
              <a:t>$80,000</a:t>
            </a:r>
            <a:endParaRPr lang="en-US" sz="1200" dirty="0">
              <a:latin typeface="+mj-lt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BDB1B54-F932-7EF4-3993-32F3152275A0}"/>
              </a:ext>
            </a:extLst>
          </p:cNvPr>
          <p:cNvSpPr txBox="1"/>
          <p:nvPr/>
        </p:nvSpPr>
        <p:spPr>
          <a:xfrm>
            <a:off x="2541666" y="2811551"/>
            <a:ext cx="364202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 dirty="0"/>
              <a:t>$ -</a:t>
            </a:r>
            <a:endParaRPr lang="en-US" sz="1200" dirty="0">
              <a:latin typeface="+mj-lt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F883EBE-25F2-BB17-0D6C-0F46696AC61F}"/>
              </a:ext>
            </a:extLst>
          </p:cNvPr>
          <p:cNvSpPr txBox="1"/>
          <p:nvPr/>
        </p:nvSpPr>
        <p:spPr>
          <a:xfrm>
            <a:off x="2439771" y="2991592"/>
            <a:ext cx="737702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 dirty="0"/>
              <a:t>$20,000</a:t>
            </a:r>
            <a:endParaRPr lang="en-US" sz="1200" dirty="0">
              <a:latin typeface="+mj-lt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5891CB8-720F-AC55-93E8-47CD053B1BE0}"/>
              </a:ext>
            </a:extLst>
          </p:cNvPr>
          <p:cNvSpPr txBox="1"/>
          <p:nvPr/>
        </p:nvSpPr>
        <p:spPr>
          <a:xfrm>
            <a:off x="2084466" y="3348693"/>
            <a:ext cx="737702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 dirty="0">
                <a:latin typeface="+mj-lt"/>
              </a:rPr>
              <a:t>$47,000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69D5E5E-0DD2-38B3-1F9D-F192CBABAE8F}"/>
              </a:ext>
            </a:extLst>
          </p:cNvPr>
          <p:cNvSpPr txBox="1"/>
          <p:nvPr/>
        </p:nvSpPr>
        <p:spPr>
          <a:xfrm>
            <a:off x="2515971" y="3539553"/>
            <a:ext cx="822661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200" dirty="0"/>
              <a:t>$426,400</a:t>
            </a:r>
            <a:endParaRPr lang="en-US" sz="1200" dirty="0">
              <a:latin typeface="+mj-lt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FBFBA2A-5A65-EB4A-3229-FB01B2BBBF38}"/>
              </a:ext>
            </a:extLst>
          </p:cNvPr>
          <p:cNvSpPr txBox="1"/>
          <p:nvPr/>
        </p:nvSpPr>
        <p:spPr>
          <a:xfrm>
            <a:off x="752459" y="4065271"/>
            <a:ext cx="731290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400" dirty="0">
                <a:latin typeface="+mj-lt"/>
              </a:rPr>
              <a:t>$3,000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84AA6C6-1370-2D78-8F48-EC2ACF9D040A}"/>
              </a:ext>
            </a:extLst>
          </p:cNvPr>
          <p:cNvSpPr txBox="1"/>
          <p:nvPr/>
        </p:nvSpPr>
        <p:spPr>
          <a:xfrm>
            <a:off x="671508" y="4701888"/>
            <a:ext cx="930063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400" dirty="0">
                <a:latin typeface="+mj-lt"/>
              </a:rPr>
              <a:t>$163,000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B8BD800-2450-AED0-FA53-7A3856C856BE}"/>
              </a:ext>
            </a:extLst>
          </p:cNvPr>
          <p:cNvSpPr txBox="1"/>
          <p:nvPr/>
        </p:nvSpPr>
        <p:spPr>
          <a:xfrm>
            <a:off x="752459" y="5352334"/>
            <a:ext cx="930063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400" dirty="0">
                <a:latin typeface="+mj-lt"/>
              </a:rPr>
              <a:t>$248,400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136BEF1-941E-7E94-5F61-C3E45D891E52}"/>
              </a:ext>
            </a:extLst>
          </p:cNvPr>
          <p:cNvSpPr/>
          <p:nvPr/>
        </p:nvSpPr>
        <p:spPr>
          <a:xfrm>
            <a:off x="413441" y="1125535"/>
            <a:ext cx="3588385" cy="505602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F2FE084-2C8D-42EF-FF40-5ED367BCD77C}"/>
              </a:ext>
            </a:extLst>
          </p:cNvPr>
          <p:cNvSpPr txBox="1"/>
          <p:nvPr/>
        </p:nvSpPr>
        <p:spPr>
          <a:xfrm>
            <a:off x="384566" y="1125535"/>
            <a:ext cx="182660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b="1">
                <a:solidFill>
                  <a:schemeClr val="accent4"/>
                </a:solidFill>
                <a:cs typeface="Arial" pitchFamily="34" charset="0"/>
              </a:defRPr>
            </a:lvl1pPr>
          </a:lstStyle>
          <a:p>
            <a:r>
              <a:rPr lang="en-US" altLang="ko-KR" sz="1800" dirty="0"/>
              <a:t>Benefits</a:t>
            </a:r>
          </a:p>
          <a:p>
            <a:r>
              <a:rPr lang="en-US" altLang="ko-KR" sz="1200" b="0" dirty="0"/>
              <a:t>High Performing Tools</a:t>
            </a:r>
          </a:p>
          <a:p>
            <a:endParaRPr lang="en-US" altLang="ko-KR" sz="1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0B336EC-E262-EF26-3016-30C2AFD4850F}"/>
              </a:ext>
            </a:extLst>
          </p:cNvPr>
          <p:cNvSpPr txBox="1"/>
          <p:nvPr/>
        </p:nvSpPr>
        <p:spPr>
          <a:xfrm>
            <a:off x="1976388" y="1125535"/>
            <a:ext cx="203497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en-US" sz="1600" b="1" dirty="0">
                <a:solidFill>
                  <a:schemeClr val="accent1"/>
                </a:solidFill>
              </a:rPr>
              <a:t>ROI</a:t>
            </a:r>
            <a:endParaRPr lang="en-US" sz="1200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AD927B0-20CD-36FC-192F-E57455D4F694}"/>
              </a:ext>
            </a:extLst>
          </p:cNvPr>
          <p:cNvSpPr txBox="1"/>
          <p:nvPr/>
        </p:nvSpPr>
        <p:spPr>
          <a:xfrm>
            <a:off x="2251427" y="1117992"/>
            <a:ext cx="1380507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accent1"/>
                </a:solidFill>
              </a:rPr>
              <a:t>-CAD 73,961</a:t>
            </a:r>
            <a:endParaRPr lang="en-US" sz="12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D5FC84D-3944-2C5D-476B-D70ECB8D3570}"/>
              </a:ext>
            </a:extLst>
          </p:cNvPr>
          <p:cNvSpPr txBox="1"/>
          <p:nvPr/>
        </p:nvSpPr>
        <p:spPr>
          <a:xfrm>
            <a:off x="919480" y="2747685"/>
            <a:ext cx="2667000" cy="1631216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Latest innovation and most productive tools for your teams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Monthly usage fees replace large, upfront cash expenses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Unexpected costs are covered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Quick and easy process to add tools to your Fleet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000" dirty="0">
              <a:latin typeface="+mj-lt"/>
              <a:ea typeface="League Spartan" charset="0"/>
              <a:cs typeface="Poppins" pitchFamily="2" charset="77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548B509B-BA87-10C8-0E91-6C7CC92F8524}"/>
              </a:ext>
            </a:extLst>
          </p:cNvPr>
          <p:cNvGrpSpPr/>
          <p:nvPr/>
        </p:nvGrpSpPr>
        <p:grpSpPr>
          <a:xfrm>
            <a:off x="2269272" y="5380809"/>
            <a:ext cx="2073612" cy="600065"/>
            <a:chOff x="2242760" y="1173168"/>
            <a:chExt cx="2073612" cy="600065"/>
          </a:xfrm>
        </p:grpSpPr>
        <p:pic>
          <p:nvPicPr>
            <p:cNvPr id="59" name="Picture 6">
              <a:extLst>
                <a:ext uri="{FF2B5EF4-FFF2-40B4-BE49-F238E27FC236}">
                  <a16:creationId xmlns:a16="http://schemas.microsoft.com/office/drawing/2014/main" id="{1AD69024-9822-AC78-DC7C-75990006F9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42760" y="1329444"/>
              <a:ext cx="874278" cy="1867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2" descr="Fleet Management - Hilti Corporation">
              <a:extLst>
                <a:ext uri="{FF2B5EF4-FFF2-40B4-BE49-F238E27FC236}">
                  <a16:creationId xmlns:a16="http://schemas.microsoft.com/office/drawing/2014/main" id="{65C8CA6A-9E97-7AF7-E4FF-F58570CFF78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041" t="1" b="25319"/>
            <a:stretch/>
          </p:blipFill>
          <p:spPr bwMode="auto">
            <a:xfrm>
              <a:off x="2801121" y="1173168"/>
              <a:ext cx="1515251" cy="6000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D51D9F8E-3EA6-03DB-C856-91B777F71F56}"/>
              </a:ext>
            </a:extLst>
          </p:cNvPr>
          <p:cNvSpPr/>
          <p:nvPr/>
        </p:nvSpPr>
        <p:spPr>
          <a:xfrm>
            <a:off x="4301122" y="1125537"/>
            <a:ext cx="3588385" cy="505602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F0078D2-1E7E-8428-B59B-4CFDB11824BE}"/>
              </a:ext>
            </a:extLst>
          </p:cNvPr>
          <p:cNvSpPr txBox="1"/>
          <p:nvPr/>
        </p:nvSpPr>
        <p:spPr>
          <a:xfrm>
            <a:off x="4373835" y="1117992"/>
            <a:ext cx="1951721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b="1">
                <a:solidFill>
                  <a:schemeClr val="accent4"/>
                </a:solidFill>
                <a:cs typeface="Arial" pitchFamily="34" charset="0"/>
              </a:defRPr>
            </a:lvl1pPr>
          </a:lstStyle>
          <a:p>
            <a:r>
              <a:rPr lang="en-US" altLang="ko-KR" sz="1800" dirty="0"/>
              <a:t>Benefits</a:t>
            </a:r>
            <a:endParaRPr lang="en-US" altLang="ko-KR" sz="1200" b="0" dirty="0"/>
          </a:p>
          <a:p>
            <a:r>
              <a:rPr lang="en-US" altLang="ko-KR" sz="1200" b="0" dirty="0"/>
              <a:t>Work Package Solutions</a:t>
            </a:r>
            <a:endParaRPr lang="ko-KR" altLang="en-US" sz="1200" b="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88C928C-5DD2-8127-E8D8-727896791A04}"/>
              </a:ext>
            </a:extLst>
          </p:cNvPr>
          <p:cNvSpPr txBox="1"/>
          <p:nvPr/>
        </p:nvSpPr>
        <p:spPr>
          <a:xfrm>
            <a:off x="5937785" y="1125535"/>
            <a:ext cx="195172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en-US" sz="1600" b="1" dirty="0">
                <a:solidFill>
                  <a:schemeClr val="accent1"/>
                </a:solidFill>
              </a:rPr>
              <a:t>ROI</a:t>
            </a:r>
            <a:endParaRPr lang="en-US" sz="12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0569C6-9183-06AD-1060-416829FE88F3}"/>
              </a:ext>
            </a:extLst>
          </p:cNvPr>
          <p:cNvSpPr txBox="1"/>
          <p:nvPr/>
        </p:nvSpPr>
        <p:spPr>
          <a:xfrm>
            <a:off x="6071264" y="1125535"/>
            <a:ext cx="1311578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indent="0" algn="ctr">
              <a:buNone/>
            </a:pPr>
            <a:r>
              <a:rPr lang="en-US" sz="1600" b="1">
                <a:solidFill>
                  <a:schemeClr val="accent1"/>
                </a:solidFill>
              </a:rPr>
              <a:t>CAD 56,000</a:t>
            </a:r>
            <a:endParaRPr lang="en-US" sz="12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BEE8B2B-65D3-28B1-ADB2-A2903F00CF88}"/>
              </a:ext>
            </a:extLst>
          </p:cNvPr>
          <p:cNvSpPr txBox="1"/>
          <p:nvPr/>
        </p:nvSpPr>
        <p:spPr>
          <a:xfrm>
            <a:off x="4766410" y="2710177"/>
            <a:ext cx="2667000" cy="1323439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We’ve got the entire workflow covered: right tools and right inserts in the right time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ea typeface="League Spartan" charset="0"/>
                <a:cs typeface="Poppins" pitchFamily="2" charset="77"/>
              </a:rPr>
              <a:t>Maximize productivity of your teams by utilizing the latest innovation not just for tools but for inserts and accessories</a:t>
            </a:r>
          </a:p>
          <a:p>
            <a:pPr>
              <a:spcBef>
                <a:spcPts val="600"/>
              </a:spcBef>
            </a:pPr>
            <a:endParaRPr lang="en-US" sz="1000" dirty="0">
              <a:latin typeface="+mj-lt"/>
              <a:ea typeface="League Spartan" charset="0"/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5316564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91A83F4-F866-4C2A-A42C-91F028778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91A83F4-F866-4C2A-A42C-91F028778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A8B592C-0661-45E2-9A36-976660E1862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endParaRPr kumimoji="0" lang="en-US" sz="18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extplatzhalter 2">
            <a:hlinkClick r:id="" action="ppaction://noaction"/>
            <a:extLst>
              <a:ext uri="{FF2B5EF4-FFF2-40B4-BE49-F238E27FC236}">
                <a16:creationId xmlns:a16="http://schemas.microsoft.com/office/drawing/2014/main" id="{E86FC39C-47BB-469A-BE4E-D7A3E8DBAA0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2708275" y="2124075"/>
            <a:ext cx="6435725" cy="476250"/>
          </a:xfrm>
          <a:prstGeom prst="rect">
            <a:avLst/>
          </a:prstGeom>
          <a:solidFill>
            <a:schemeClr val="bg2"/>
          </a:solidFill>
          <a:ln w="38100" algn="ctr">
            <a:solidFill>
              <a:schemeClr val="bg1"/>
            </a:solidFill>
          </a:ln>
        </p:spPr>
        <p:txBody>
          <a:bodyPr vert="horz" wrap="none" lIns="92075" tIns="92075" rIns="0" bIns="90488" numCol="1" spcCol="0" rtlCol="0" anchor="ctr" anchorCtr="0">
            <a:noAutofit/>
          </a:bodyPr>
          <a:lstStyle>
            <a:lvl1pPr marL="241200" indent="-241200" algn="l" defTabSz="1219170" rtl="0" eaLnBrk="1" latinLnBrk="0" hangingPunct="1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800" indent="-239994" algn="l" defTabSz="1219170" rtl="0" eaLnBrk="1" latinLnBrk="0" hangingPunct="1">
              <a:lnSpc>
                <a:spcPct val="107000"/>
              </a:lnSpc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39994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1200" indent="-239994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57600" indent="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Introduction	</a:t>
            </a:r>
            <a:endParaRPr lang="en-US" noProof="0" dirty="0"/>
          </a:p>
        </p:txBody>
      </p:sp>
      <p:sp>
        <p:nvSpPr>
          <p:cNvPr id="29" name="Textplatzhalter 2">
            <a:hlinkClick r:id="" action="ppaction://noaction"/>
            <a:extLst>
              <a:ext uri="{FF2B5EF4-FFF2-40B4-BE49-F238E27FC236}">
                <a16:creationId xmlns:a16="http://schemas.microsoft.com/office/drawing/2014/main" id="{377C0588-20A7-4006-ACE8-159A4DEEED7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708275" y="3505200"/>
            <a:ext cx="6435725" cy="477838"/>
          </a:xfrm>
          <a:prstGeom prst="rect">
            <a:avLst/>
          </a:prstGeom>
          <a:solidFill>
            <a:schemeClr val="bg2"/>
          </a:solidFill>
          <a:ln w="38100" algn="ctr">
            <a:solidFill>
              <a:schemeClr val="bg1"/>
            </a:solidFill>
          </a:ln>
        </p:spPr>
        <p:txBody>
          <a:bodyPr vert="horz" wrap="none" lIns="92075" tIns="92075" rIns="0" bIns="92075" numCol="1" spcCol="0" rtlCol="0" anchor="ctr" anchorCtr="0">
            <a:noAutofit/>
          </a:bodyPr>
          <a:lstStyle>
            <a:lvl1pPr marL="241200" indent="-241200" algn="l" defTabSz="1219170" rtl="0" eaLnBrk="1" latinLnBrk="0" hangingPunct="1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800" indent="-239994" algn="l" defTabSz="1219170" rtl="0" eaLnBrk="1" latinLnBrk="0" hangingPunct="1">
              <a:lnSpc>
                <a:spcPct val="107000"/>
              </a:lnSpc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39994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1200" indent="-239994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57600" indent="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Current Situation vs. Future State</a:t>
            </a:r>
          </a:p>
        </p:txBody>
      </p:sp>
      <p:sp>
        <p:nvSpPr>
          <p:cNvPr id="52" name="Textplatzhalter 2">
            <a:hlinkClick r:id="" action="ppaction://noaction"/>
            <a:extLst>
              <a:ext uri="{FF2B5EF4-FFF2-40B4-BE49-F238E27FC236}">
                <a16:creationId xmlns:a16="http://schemas.microsoft.com/office/drawing/2014/main" id="{5E714380-4EB4-45B4-810C-9373F95E34A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708275" y="3962400"/>
            <a:ext cx="6435725" cy="476250"/>
          </a:xfrm>
          <a:prstGeom prst="rect">
            <a:avLst/>
          </a:prstGeom>
          <a:solidFill>
            <a:schemeClr val="bg2"/>
          </a:solidFill>
          <a:ln w="38100" algn="ctr">
            <a:solidFill>
              <a:schemeClr val="bg1"/>
            </a:solidFill>
          </a:ln>
        </p:spPr>
        <p:txBody>
          <a:bodyPr vert="horz" wrap="none" lIns="92075" tIns="90488" rIns="0" bIns="92075" numCol="1" spcCol="0" rtlCol="0" anchor="ctr" anchorCtr="0">
            <a:noAutofit/>
          </a:bodyPr>
          <a:lstStyle>
            <a:lvl1pPr marL="241200" indent="-241200" algn="l" defTabSz="1219170" rtl="0" eaLnBrk="1" latinLnBrk="0" hangingPunct="1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800" indent="-239994" algn="l" defTabSz="1219170" rtl="0" eaLnBrk="1" latinLnBrk="0" hangingPunct="1">
              <a:lnSpc>
                <a:spcPct val="107000"/>
              </a:lnSpc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39994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1200" indent="-239994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57600" indent="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Return on Investment (ROI)</a:t>
            </a:r>
          </a:p>
        </p:txBody>
      </p:sp>
      <p:sp>
        <p:nvSpPr>
          <p:cNvPr id="64" name="Textplatzhalter 2">
            <a:hlinkClick r:id="" action="ppaction://noaction"/>
            <a:extLst>
              <a:ext uri="{FF2B5EF4-FFF2-40B4-BE49-F238E27FC236}">
                <a16:creationId xmlns:a16="http://schemas.microsoft.com/office/drawing/2014/main" id="{E70BCCF8-1A96-4C84-B04B-DEB5A055960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708275" y="4419600"/>
            <a:ext cx="6435725" cy="476250"/>
          </a:xfrm>
          <a:prstGeom prst="rect">
            <a:avLst/>
          </a:prstGeom>
          <a:solidFill>
            <a:schemeClr val="bg2"/>
          </a:solidFill>
          <a:ln w="38100" algn="ctr">
            <a:solidFill>
              <a:schemeClr val="bg1"/>
            </a:solidFill>
          </a:ln>
        </p:spPr>
        <p:txBody>
          <a:bodyPr vert="horz" wrap="none" lIns="92075" tIns="92075" rIns="0" bIns="90488" numCol="1" spcCol="0" rtlCol="0" anchor="ctr" anchorCtr="0">
            <a:noAutofit/>
          </a:bodyPr>
          <a:lstStyle>
            <a:lvl1pPr marL="241200" indent="-241200" algn="l" defTabSz="1219170" rtl="0" eaLnBrk="1" latinLnBrk="0" hangingPunct="1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800" indent="-239994" algn="l" defTabSz="1219170" rtl="0" eaLnBrk="1" latinLnBrk="0" hangingPunct="1">
              <a:lnSpc>
                <a:spcPct val="107000"/>
              </a:lnSpc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39994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1200" indent="-239994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57600" indent="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Implementation and Train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FC9E783-FF8A-421C-B401-1005ED4667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fld id="{6399158C-0616-4D57-A9CE-01E80B33FED4}" type="datetime'Agenda'">
              <a:rPr lang="en-US" altLang="en-US" smtClean="0"/>
              <a:pPr/>
              <a:t>Agenda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296D0F7-184F-4E49-83D2-47F6AA18B7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xecutive Summary</a:t>
            </a:r>
            <a:endParaRPr lang="en-US" noProof="0" dirty="0"/>
          </a:p>
        </p:txBody>
      </p:sp>
      <p:sp>
        <p:nvSpPr>
          <p:cNvPr id="13" name="Textplatzhalter 2">
            <a:hlinkClick r:id="" action="ppaction://noaction"/>
            <a:extLst>
              <a:ext uri="{FF2B5EF4-FFF2-40B4-BE49-F238E27FC236}">
                <a16:creationId xmlns:a16="http://schemas.microsoft.com/office/drawing/2014/main" id="{69E8B75F-2799-4811-98DF-3140B306F54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708274" y="3048000"/>
            <a:ext cx="6435725" cy="477838"/>
          </a:xfrm>
          <a:prstGeom prst="rect">
            <a:avLst/>
          </a:prstGeom>
          <a:solidFill>
            <a:schemeClr val="bg2"/>
          </a:solidFill>
          <a:ln w="38100" algn="ctr">
            <a:solidFill>
              <a:schemeClr val="bg1"/>
            </a:solidFill>
          </a:ln>
        </p:spPr>
        <p:txBody>
          <a:bodyPr vert="horz" wrap="none" lIns="92075" tIns="92075" rIns="0" bIns="92075" numCol="1" spcCol="0" rtlCol="0" anchor="ctr" anchorCtr="0">
            <a:noAutofit/>
          </a:bodyPr>
          <a:lstStyle>
            <a:lvl1pPr marL="241200" indent="-241200" algn="l" defTabSz="1219170" rtl="0" eaLnBrk="1" latinLnBrk="0" hangingPunct="1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800" indent="-239994" algn="l" defTabSz="1219170" rtl="0" eaLnBrk="1" latinLnBrk="0" hangingPunct="1">
              <a:lnSpc>
                <a:spcPct val="107000"/>
              </a:lnSpc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39994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1200" indent="-239994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57600" indent="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Executive Summar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BE9F741-74ED-49DA-80B4-A0E89BBA48D3}"/>
              </a:ext>
            </a:extLst>
          </p:cNvPr>
          <p:cNvSpPr/>
          <p:nvPr/>
        </p:nvSpPr>
        <p:spPr>
          <a:xfrm>
            <a:off x="2343060" y="2124075"/>
            <a:ext cx="304800" cy="1381125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OVERVIEW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6E9320C-28CB-4579-B0F9-17AE64A743D8}"/>
              </a:ext>
            </a:extLst>
          </p:cNvPr>
          <p:cNvSpPr/>
          <p:nvPr/>
        </p:nvSpPr>
        <p:spPr>
          <a:xfrm>
            <a:off x="2343060" y="3525838"/>
            <a:ext cx="304800" cy="1350962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DETAILS</a:t>
            </a:r>
          </a:p>
        </p:txBody>
      </p:sp>
      <p:sp>
        <p:nvSpPr>
          <p:cNvPr id="4" name="Textplatzhalter 2">
            <a:hlinkClick r:id="" action="ppaction://noaction"/>
            <a:extLst>
              <a:ext uri="{FF2B5EF4-FFF2-40B4-BE49-F238E27FC236}">
                <a16:creationId xmlns:a16="http://schemas.microsoft.com/office/drawing/2014/main" id="{F90393C2-EFF9-7FD1-A434-02A1FB80249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708273" y="2590006"/>
            <a:ext cx="6435725" cy="476250"/>
          </a:xfrm>
          <a:prstGeom prst="rect">
            <a:avLst/>
          </a:prstGeom>
          <a:solidFill>
            <a:schemeClr val="bg2"/>
          </a:solidFill>
          <a:ln w="38100" algn="ctr">
            <a:solidFill>
              <a:schemeClr val="bg1"/>
            </a:solidFill>
          </a:ln>
        </p:spPr>
        <p:txBody>
          <a:bodyPr vert="horz" wrap="none" lIns="92075" tIns="92075" rIns="0" bIns="90488" numCol="1" spcCol="0" rtlCol="0" anchor="ctr" anchorCtr="0">
            <a:noAutofit/>
          </a:bodyPr>
          <a:lstStyle>
            <a:lvl1pPr marL="241200" indent="-241200" algn="l" defTabSz="1219170" rtl="0" eaLnBrk="1" latinLnBrk="0" hangingPunct="1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800" indent="-239994" algn="l" defTabSz="1219170" rtl="0" eaLnBrk="1" latinLnBrk="0" hangingPunct="1">
              <a:lnSpc>
                <a:spcPct val="107000"/>
              </a:lnSpc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39994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1200" indent="-239994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98800" indent="-24120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57600" indent="0" algn="l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Guiding Principles	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79277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think-cell data - do not delete" hidden="1">
            <a:extLst>
              <a:ext uri="{FF2B5EF4-FFF2-40B4-BE49-F238E27FC236}">
                <a16:creationId xmlns:a16="http://schemas.microsoft.com/office/drawing/2014/main" id="{B3650115-A41E-77DA-CD94-B540C0969F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2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650115-A41E-77DA-CD94-B540C0969F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8051B9FB-A025-EDAA-92D6-4CB7D1B18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34" y="332997"/>
            <a:ext cx="11376025" cy="792538"/>
          </a:xfrm>
        </p:spPr>
        <p:txBody>
          <a:bodyPr vert="horz"/>
          <a:lstStyle/>
          <a:p>
            <a:r>
              <a:rPr lang="en-US" dirty="0"/>
              <a:t>Recommended hilti solutions </a:t>
            </a:r>
            <a:r>
              <a:rPr lang="en-US" sz="1800" dirty="0">
                <a:solidFill>
                  <a:schemeClr val="accent4"/>
                </a:solidFill>
                <a:cs typeface="Arial" pitchFamily="34" charset="0"/>
              </a:rPr>
              <a:t>system solutions</a:t>
            </a:r>
            <a:br>
              <a:rPr lang="en-US" sz="1400" dirty="0"/>
            </a:br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18ED7E7-485B-BCCA-C86C-86A2728FCCFE}"/>
              </a:ext>
            </a:extLst>
          </p:cNvPr>
          <p:cNvSpPr/>
          <p:nvPr/>
        </p:nvSpPr>
        <p:spPr>
          <a:xfrm>
            <a:off x="4301807" y="1235323"/>
            <a:ext cx="3588385" cy="505602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994A6F2-D951-F79D-1E21-E5FD4556ABEF}"/>
              </a:ext>
            </a:extLst>
          </p:cNvPr>
          <p:cNvSpPr txBox="1"/>
          <p:nvPr/>
        </p:nvSpPr>
        <p:spPr>
          <a:xfrm>
            <a:off x="5170325" y="1557586"/>
            <a:ext cx="173044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altLang="ko-KR" sz="2000" b="1" dirty="0">
              <a:solidFill>
                <a:schemeClr val="accent4"/>
              </a:solidFill>
              <a:cs typeface="Arial" pitchFamily="34" charset="0"/>
            </a:endParaRPr>
          </a:p>
          <a:p>
            <a:pPr algn="ctr"/>
            <a:r>
              <a:rPr lang="en-US" altLang="ko-KR" sz="2000" b="1" dirty="0">
                <a:solidFill>
                  <a:schemeClr val="accent4"/>
                </a:solidFill>
                <a:cs typeface="Arial" pitchFamily="34" charset="0"/>
              </a:rPr>
              <a:t>Estimated ROI per Year</a:t>
            </a:r>
          </a:p>
          <a:p>
            <a:pPr algn="ctr"/>
            <a:endParaRPr lang="en-US" altLang="ko-KR" sz="2000" b="1" dirty="0">
              <a:solidFill>
                <a:schemeClr val="accent4"/>
              </a:solidFill>
              <a:cs typeface="Arial" pitchFamily="34" charset="0"/>
            </a:endParaRPr>
          </a:p>
          <a:p>
            <a:pPr algn="ctr"/>
            <a:endParaRPr lang="ko-KR" altLang="en-US" sz="2000" b="1" dirty="0">
              <a:solidFill>
                <a:schemeClr val="accent4"/>
              </a:solidFill>
              <a:cs typeface="Arial" pitchFamily="34" charset="0"/>
            </a:endParaRPr>
          </a:p>
        </p:txBody>
      </p:sp>
      <p:pic>
        <p:nvPicPr>
          <p:cNvPr id="19" name="Picture 2">
            <a:extLst>
              <a:ext uri="{FF2B5EF4-FFF2-40B4-BE49-F238E27FC236}">
                <a16:creationId xmlns:a16="http://schemas.microsoft.com/office/drawing/2014/main" id="{68F17636-03AB-7CDB-CC51-A93722D4F1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6602" y="5443428"/>
            <a:ext cx="648279" cy="370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3">
            <a:extLst>
              <a:ext uri="{FF2B5EF4-FFF2-40B4-BE49-F238E27FC236}">
                <a16:creationId xmlns:a16="http://schemas.microsoft.com/office/drawing/2014/main" id="{2BBD06A2-E0C0-CB9F-0ACA-D0BD9CE373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5548" y="5443428"/>
            <a:ext cx="382022" cy="370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">
            <a:extLst>
              <a:ext uri="{FF2B5EF4-FFF2-40B4-BE49-F238E27FC236}">
                <a16:creationId xmlns:a16="http://schemas.microsoft.com/office/drawing/2014/main" id="{E20D4811-8AE6-0ADA-1548-AC385E0C35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6541" y="5443428"/>
            <a:ext cx="509362" cy="370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41116981-1359-D42B-B170-EC02A76D40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xecutive Summary</a:t>
            </a:r>
            <a:endParaRPr lang="en-US" noProof="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91A775B-38D8-E446-3B60-C16B8F239ADB}"/>
              </a:ext>
            </a:extLst>
          </p:cNvPr>
          <p:cNvSpPr txBox="1"/>
          <p:nvPr/>
        </p:nvSpPr>
        <p:spPr>
          <a:xfrm>
            <a:off x="5023483" y="1405186"/>
            <a:ext cx="2164375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indent="0" algn="ctr">
              <a:buNone/>
            </a:pPr>
            <a:r>
              <a:rPr lang="en-US" sz="2800" b="1">
                <a:solidFill>
                  <a:schemeClr val="accent1"/>
                </a:solidFill>
              </a:rPr>
              <a:t>CAD 92,242</a:t>
            </a:r>
            <a:endParaRPr lang="en-US" sz="2800" dirty="0">
              <a:solidFill>
                <a:schemeClr val="accent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1BD353E-F8CC-6C33-DFC3-EB1F11223E9C}"/>
              </a:ext>
            </a:extLst>
          </p:cNvPr>
          <p:cNvSpPr txBox="1"/>
          <p:nvPr/>
        </p:nvSpPr>
        <p:spPr>
          <a:xfrm>
            <a:off x="5278339" y="2719575"/>
            <a:ext cx="1596912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indent="0" algn="ctr">
              <a:buNone/>
            </a:pPr>
            <a:r>
              <a:rPr lang="en-US" sz="2000" b="1">
                <a:solidFill>
                  <a:schemeClr val="accent4"/>
                </a:solidFill>
              </a:rPr>
              <a:t>CAD 16,000</a:t>
            </a:r>
            <a:endParaRPr lang="en-US" sz="2000" dirty="0">
              <a:solidFill>
                <a:schemeClr val="accent4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8B8363E-5C76-CACB-8CFF-7A95DD9EC13B}"/>
              </a:ext>
            </a:extLst>
          </p:cNvPr>
          <p:cNvSpPr txBox="1"/>
          <p:nvPr/>
        </p:nvSpPr>
        <p:spPr>
          <a:xfrm>
            <a:off x="5316730" y="3162022"/>
            <a:ext cx="1539204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indent="0" algn="ctr">
              <a:buNone/>
            </a:pPr>
            <a:r>
              <a:rPr lang="en-US" sz="2000" b="1">
                <a:solidFill>
                  <a:schemeClr val="accent4"/>
                </a:solidFill>
              </a:rPr>
              <a:t>-CAD 7,020</a:t>
            </a:r>
            <a:endParaRPr lang="en-US" sz="2000" dirty="0">
              <a:solidFill>
                <a:schemeClr val="accent4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F87B7F7-E576-08BE-201D-D4F21156C6B5}"/>
              </a:ext>
            </a:extLst>
          </p:cNvPr>
          <p:cNvSpPr txBox="1"/>
          <p:nvPr/>
        </p:nvSpPr>
        <p:spPr>
          <a:xfrm>
            <a:off x="5224312" y="3604469"/>
            <a:ext cx="1681871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indent="0" algn="ctr">
              <a:buNone/>
            </a:pPr>
            <a:r>
              <a:rPr lang="en-US" sz="2000" b="1">
                <a:solidFill>
                  <a:schemeClr val="accent4"/>
                </a:solidFill>
              </a:rPr>
              <a:t>-CAD 73,961</a:t>
            </a:r>
            <a:endParaRPr lang="en-US" sz="2000" dirty="0">
              <a:solidFill>
                <a:schemeClr val="accent4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2926CA8-6861-09E3-478B-40F99F514085}"/>
              </a:ext>
            </a:extLst>
          </p:cNvPr>
          <p:cNvSpPr txBox="1"/>
          <p:nvPr/>
        </p:nvSpPr>
        <p:spPr>
          <a:xfrm>
            <a:off x="5197204" y="4046916"/>
            <a:ext cx="1739580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indent="0" algn="ctr">
              <a:buNone/>
            </a:pPr>
            <a:r>
              <a:rPr lang="en-US" sz="2000" b="1">
                <a:solidFill>
                  <a:schemeClr val="accent4"/>
                </a:solidFill>
              </a:rPr>
              <a:t>CAD 101,223</a:t>
            </a:r>
            <a:endParaRPr lang="en-US" sz="2000" dirty="0">
              <a:solidFill>
                <a:schemeClr val="accent4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EB1C98F-3342-A80E-AD57-4558C52B4A3D}"/>
              </a:ext>
            </a:extLst>
          </p:cNvPr>
          <p:cNvSpPr txBox="1"/>
          <p:nvPr/>
        </p:nvSpPr>
        <p:spPr>
          <a:xfrm>
            <a:off x="5288008" y="4489364"/>
            <a:ext cx="1596912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indent="0" algn="ctr">
              <a:buNone/>
            </a:pPr>
            <a:r>
              <a:rPr lang="en-US" sz="2000" b="1">
                <a:solidFill>
                  <a:schemeClr val="accent4"/>
                </a:solidFill>
              </a:rPr>
              <a:t>CAD 56,000</a:t>
            </a:r>
            <a:endParaRPr lang="en-US" sz="2000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0891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5E536-3A5C-43A7-B3F4-3F025A126D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xecutive Summary</a:t>
            </a:r>
            <a:endParaRPr lang="en-US" noProof="0" dirty="0"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6739BCC-1263-4078-92B2-EEA883C0A3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>
                <a:cs typeface="Arial"/>
              </a:rPr>
              <a:t>Consultation</a:t>
            </a:r>
            <a:r>
              <a:rPr lang="de-CH" dirty="0">
                <a:cs typeface="Arial"/>
              </a:rPr>
              <a:t> and Implementation Schedule</a:t>
            </a:r>
          </a:p>
        </p:txBody>
      </p:sp>
      <p:pic>
        <p:nvPicPr>
          <p:cNvPr id="16" name="Grafik 38">
            <a:extLst>
              <a:ext uri="{FF2B5EF4-FFF2-40B4-BE49-F238E27FC236}">
                <a16:creationId xmlns:a16="http://schemas.microsoft.com/office/drawing/2014/main" id="{1CB8C2C5-547A-49AA-B1E3-424C1E72B23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3689" y="1168241"/>
            <a:ext cx="900000" cy="900000"/>
          </a:xfrm>
          <a:prstGeom prst="rect">
            <a:avLst/>
          </a:prstGeom>
        </p:spPr>
      </p:pic>
      <p:pic>
        <p:nvPicPr>
          <p:cNvPr id="17" name="Grafik 39">
            <a:extLst>
              <a:ext uri="{FF2B5EF4-FFF2-40B4-BE49-F238E27FC236}">
                <a16:creationId xmlns:a16="http://schemas.microsoft.com/office/drawing/2014/main" id="{FB3EF561-B23C-4172-B41C-3EDD7ECE3AF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4929" y="1174774"/>
            <a:ext cx="900000" cy="900000"/>
          </a:xfrm>
          <a:prstGeom prst="rect">
            <a:avLst/>
          </a:prstGeom>
        </p:spPr>
      </p:pic>
      <p:sp>
        <p:nvSpPr>
          <p:cNvPr id="22" name="TextBox 16">
            <a:extLst>
              <a:ext uri="{FF2B5EF4-FFF2-40B4-BE49-F238E27FC236}">
                <a16:creationId xmlns:a16="http://schemas.microsoft.com/office/drawing/2014/main" id="{17EB934E-78B5-4EB3-96B5-5D51164A0E8E}"/>
              </a:ext>
            </a:extLst>
          </p:cNvPr>
          <p:cNvSpPr txBox="1"/>
          <p:nvPr/>
        </p:nvSpPr>
        <p:spPr>
          <a:xfrm>
            <a:off x="2584429" y="3345165"/>
            <a:ext cx="1754134" cy="276999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200" b="1" dirty="0">
                <a:latin typeface="+mj-lt"/>
                <a:cs typeface="Poppins" pitchFamily="2" charset="77"/>
              </a:rPr>
              <a:t>Field Demos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79B144C9-8ABB-42DF-8B6C-1095031E9EEF}"/>
              </a:ext>
            </a:extLst>
          </p:cNvPr>
          <p:cNvSpPr txBox="1">
            <a:spLocks/>
          </p:cNvSpPr>
          <p:nvPr/>
        </p:nvSpPr>
        <p:spPr>
          <a:xfrm>
            <a:off x="2556707" y="3652649"/>
            <a:ext cx="1633138" cy="1405578"/>
          </a:xfrm>
          <a:prstGeom prst="rect">
            <a:avLst/>
          </a:prstGeom>
        </p:spPr>
        <p:txBody>
          <a:bodyPr vert="horz" wrap="square" lIns="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50"/>
              </a:lnSpc>
              <a:spcBef>
                <a:spcPts val="600"/>
              </a:spcBef>
            </a:pPr>
            <a:r>
              <a:rPr lang="en-US" sz="1100" dirty="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Site Visit with key Foreman to better understand current applications, challenges, likes and needs of tool utilization.</a:t>
            </a:r>
          </a:p>
        </p:txBody>
      </p:sp>
      <p:sp>
        <p:nvSpPr>
          <p:cNvPr id="28" name="TextBox 16">
            <a:extLst>
              <a:ext uri="{FF2B5EF4-FFF2-40B4-BE49-F238E27FC236}">
                <a16:creationId xmlns:a16="http://schemas.microsoft.com/office/drawing/2014/main" id="{986766EB-CD14-4D82-AC55-BC6E5D40169C}"/>
              </a:ext>
            </a:extLst>
          </p:cNvPr>
          <p:cNvSpPr txBox="1"/>
          <p:nvPr/>
        </p:nvSpPr>
        <p:spPr>
          <a:xfrm>
            <a:off x="6296552" y="3345164"/>
            <a:ext cx="1441666" cy="276999"/>
          </a:xfrm>
          <a:prstGeom prst="rect">
            <a:avLst/>
          </a:prstGeom>
          <a:noFill/>
        </p:spPr>
        <p:txBody>
          <a:bodyPr wrap="square" lIns="0" tIns="45720" rIns="91440" bIns="45720" rtlCol="0" anchor="ctr">
            <a:spAutoFit/>
          </a:bodyPr>
          <a:lstStyle/>
          <a:p>
            <a:pPr>
              <a:spcBef>
                <a:spcPts val="600"/>
              </a:spcBef>
            </a:pPr>
            <a:r>
              <a:rPr lang="en-US" sz="1200" b="1" dirty="0">
                <a:latin typeface="+mj-lt"/>
                <a:cs typeface="Poppins"/>
              </a:rPr>
              <a:t>Review &amp; Discuss</a:t>
            </a:r>
            <a:endParaRPr lang="en-US" sz="1200" b="1" dirty="0">
              <a:latin typeface="+mj-lt"/>
              <a:cs typeface="Poppins" pitchFamily="2" charset="77"/>
            </a:endParaRP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BBB09F0F-18FC-4C9F-A5DB-DC30A2A72CF0}"/>
              </a:ext>
            </a:extLst>
          </p:cNvPr>
          <p:cNvSpPr txBox="1">
            <a:spLocks/>
          </p:cNvSpPr>
          <p:nvPr/>
        </p:nvSpPr>
        <p:spPr>
          <a:xfrm>
            <a:off x="6052437" y="3622164"/>
            <a:ext cx="1633138" cy="1174745"/>
          </a:xfrm>
          <a:prstGeom prst="rect">
            <a:avLst/>
          </a:prstGeom>
        </p:spPr>
        <p:txBody>
          <a:bodyPr vert="horz" wrap="square" lIns="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50"/>
              </a:lnSpc>
              <a:spcBef>
                <a:spcPts val="600"/>
              </a:spcBef>
            </a:pPr>
            <a:r>
              <a:rPr lang="en-US" sz="1100" dirty="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Review of completed analysis, identified current costs and consult on recommended solutions    for the future</a:t>
            </a:r>
          </a:p>
        </p:txBody>
      </p:sp>
      <p:sp>
        <p:nvSpPr>
          <p:cNvPr id="26" name="TextBox 16">
            <a:extLst>
              <a:ext uri="{FF2B5EF4-FFF2-40B4-BE49-F238E27FC236}">
                <a16:creationId xmlns:a16="http://schemas.microsoft.com/office/drawing/2014/main" id="{A2786484-3939-1EE7-B086-93DB5C2E7A95}"/>
              </a:ext>
            </a:extLst>
          </p:cNvPr>
          <p:cNvSpPr txBox="1"/>
          <p:nvPr/>
        </p:nvSpPr>
        <p:spPr>
          <a:xfrm>
            <a:off x="7946685" y="3337743"/>
            <a:ext cx="1255342" cy="276999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pPr>
              <a:spcBef>
                <a:spcPts val="600"/>
              </a:spcBef>
            </a:pPr>
            <a:r>
              <a:rPr lang="en-US" sz="1200" b="1" dirty="0">
                <a:latin typeface="+mj-lt"/>
                <a:cs typeface="Poppins" pitchFamily="2" charset="77"/>
              </a:rPr>
              <a:t>Implementation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0305C928-14CF-62AA-45BF-0FAA239C80F2}"/>
              </a:ext>
            </a:extLst>
          </p:cNvPr>
          <p:cNvSpPr txBox="1">
            <a:spLocks/>
          </p:cNvSpPr>
          <p:nvPr/>
        </p:nvSpPr>
        <p:spPr>
          <a:xfrm>
            <a:off x="7800302" y="3628414"/>
            <a:ext cx="1633138" cy="1174745"/>
          </a:xfrm>
          <a:prstGeom prst="rect">
            <a:avLst/>
          </a:prstGeom>
        </p:spPr>
        <p:txBody>
          <a:bodyPr vert="horz" wrap="square" lIns="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50"/>
              </a:lnSpc>
              <a:spcBef>
                <a:spcPts val="600"/>
              </a:spcBef>
            </a:pPr>
            <a:r>
              <a:rPr lang="en-US" sz="1100" dirty="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Implementation of a full solution that allows your teams to be more productive and make </a:t>
            </a:r>
            <a:r>
              <a:rPr lang="en-US" sz="1100" dirty="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xxxx</a:t>
            </a:r>
            <a:r>
              <a:rPr lang="en-US" sz="1100" dirty="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more profitable</a:t>
            </a:r>
          </a:p>
        </p:txBody>
      </p:sp>
      <p:pic>
        <p:nvPicPr>
          <p:cNvPr id="30" name="Grafik 41">
            <a:extLst>
              <a:ext uri="{FF2B5EF4-FFF2-40B4-BE49-F238E27FC236}">
                <a16:creationId xmlns:a16="http://schemas.microsoft.com/office/drawing/2014/main" id="{FEF51C8A-ECBA-EA59-BD96-D81985A1614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1496" y="1170342"/>
            <a:ext cx="900000" cy="900000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4F20BB5B-74A2-F013-A1C2-D418C335CCDD}"/>
              </a:ext>
            </a:extLst>
          </p:cNvPr>
          <p:cNvSpPr/>
          <p:nvPr/>
        </p:nvSpPr>
        <p:spPr>
          <a:xfrm>
            <a:off x="6157974" y="5245388"/>
            <a:ext cx="1633138" cy="35338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Month, 2024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089E048-3D3A-D307-E1F2-D57150706D49}"/>
              </a:ext>
            </a:extLst>
          </p:cNvPr>
          <p:cNvSpPr/>
          <p:nvPr/>
        </p:nvSpPr>
        <p:spPr>
          <a:xfrm>
            <a:off x="7909182" y="5245388"/>
            <a:ext cx="1633138" cy="35338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Month, 2024</a:t>
            </a:r>
          </a:p>
        </p:txBody>
      </p:sp>
      <p:pic>
        <p:nvPicPr>
          <p:cNvPr id="18" name="Grafik 40">
            <a:extLst>
              <a:ext uri="{FF2B5EF4-FFF2-40B4-BE49-F238E27FC236}">
                <a16:creationId xmlns:a16="http://schemas.microsoft.com/office/drawing/2014/main" id="{116C202D-5978-4731-8AA6-AC91A41D1A1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7217" y="1168241"/>
            <a:ext cx="900000" cy="900000"/>
          </a:xfrm>
          <a:prstGeom prst="rect">
            <a:avLst/>
          </a:prstGeom>
        </p:spPr>
      </p:pic>
      <p:sp>
        <p:nvSpPr>
          <p:cNvPr id="20" name="TextBox 16">
            <a:extLst>
              <a:ext uri="{FF2B5EF4-FFF2-40B4-BE49-F238E27FC236}">
                <a16:creationId xmlns:a16="http://schemas.microsoft.com/office/drawing/2014/main" id="{4CC8EB04-473D-419F-BC23-A7C2526D1137}"/>
              </a:ext>
            </a:extLst>
          </p:cNvPr>
          <p:cNvSpPr txBox="1"/>
          <p:nvPr/>
        </p:nvSpPr>
        <p:spPr>
          <a:xfrm>
            <a:off x="779880" y="3362403"/>
            <a:ext cx="1713749" cy="276999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200" b="1" dirty="0">
                <a:latin typeface="+mj-lt"/>
                <a:cs typeface="Poppins" pitchFamily="2" charset="77"/>
              </a:rPr>
              <a:t>Innovation Roadshow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8CA5A854-A8B1-4426-9ACF-DD8D7F905DED}"/>
              </a:ext>
            </a:extLst>
          </p:cNvPr>
          <p:cNvSpPr txBox="1">
            <a:spLocks/>
          </p:cNvSpPr>
          <p:nvPr/>
        </p:nvSpPr>
        <p:spPr>
          <a:xfrm>
            <a:off x="808842" y="3645164"/>
            <a:ext cx="1633138" cy="1405578"/>
          </a:xfrm>
          <a:prstGeom prst="rect">
            <a:avLst/>
          </a:prstGeom>
        </p:spPr>
        <p:txBody>
          <a:bodyPr vert="horz" wrap="square" lIns="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50"/>
              </a:lnSpc>
              <a:spcBef>
                <a:spcPts val="600"/>
              </a:spcBef>
            </a:pPr>
            <a:r>
              <a:rPr lang="en-US" sz="1100" dirty="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Introduction of HILTI’s new cordless platform, NURON.  Demoing tools with key field employees and identifying areas to increase productivity.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6547B1A-2CFF-324B-6184-DAF72D6E0458}"/>
              </a:ext>
            </a:extLst>
          </p:cNvPr>
          <p:cNvSpPr/>
          <p:nvPr/>
        </p:nvSpPr>
        <p:spPr>
          <a:xfrm>
            <a:off x="820185" y="5257587"/>
            <a:ext cx="1633138" cy="35338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Month, 2024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152DAF3-F47F-ABA1-7613-051E91E84F75}"/>
              </a:ext>
            </a:extLst>
          </p:cNvPr>
          <p:cNvSpPr/>
          <p:nvPr/>
        </p:nvSpPr>
        <p:spPr>
          <a:xfrm>
            <a:off x="2571393" y="5259334"/>
            <a:ext cx="1633138" cy="35338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Month, 2024</a:t>
            </a:r>
          </a:p>
        </p:txBody>
      </p:sp>
      <p:sp>
        <p:nvSpPr>
          <p:cNvPr id="36" name="TextBox 16">
            <a:extLst>
              <a:ext uri="{FF2B5EF4-FFF2-40B4-BE49-F238E27FC236}">
                <a16:creationId xmlns:a16="http://schemas.microsoft.com/office/drawing/2014/main" id="{EBBF1183-1CA3-26CC-638E-630F9E02BB7A}"/>
              </a:ext>
            </a:extLst>
          </p:cNvPr>
          <p:cNvSpPr txBox="1"/>
          <p:nvPr/>
        </p:nvSpPr>
        <p:spPr>
          <a:xfrm>
            <a:off x="9786816" y="3332260"/>
            <a:ext cx="1255342" cy="276999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200" b="1" dirty="0">
                <a:latin typeface="+mj-lt"/>
                <a:cs typeface="Poppins" pitchFamily="2" charset="77"/>
              </a:rPr>
              <a:t>Care</a:t>
            </a:r>
          </a:p>
        </p:txBody>
      </p:sp>
      <p:sp>
        <p:nvSpPr>
          <p:cNvPr id="38" name="Subtitle 2">
            <a:extLst>
              <a:ext uri="{FF2B5EF4-FFF2-40B4-BE49-F238E27FC236}">
                <a16:creationId xmlns:a16="http://schemas.microsoft.com/office/drawing/2014/main" id="{9F81E3E8-0AE1-EEC7-057B-476B49CAAA94}"/>
              </a:ext>
            </a:extLst>
          </p:cNvPr>
          <p:cNvSpPr txBox="1">
            <a:spLocks/>
          </p:cNvSpPr>
          <p:nvPr/>
        </p:nvSpPr>
        <p:spPr>
          <a:xfrm>
            <a:off x="9551916" y="3615010"/>
            <a:ext cx="1741548" cy="1174745"/>
          </a:xfrm>
          <a:prstGeom prst="rect">
            <a:avLst/>
          </a:prstGeom>
        </p:spPr>
        <p:txBody>
          <a:bodyPr vert="horz" wrap="square" lIns="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50"/>
              </a:lnSpc>
              <a:spcBef>
                <a:spcPts val="600"/>
              </a:spcBef>
            </a:pPr>
            <a:r>
              <a:rPr lang="en-US" sz="1100" dirty="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Continuous follow-up to ensure Hilti solutions are leveraged as part of daily business and translated to tangible savings.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76EF9A74-97F3-F125-18FC-87AC9D7BE129}"/>
              </a:ext>
            </a:extLst>
          </p:cNvPr>
          <p:cNvSpPr/>
          <p:nvPr/>
        </p:nvSpPr>
        <p:spPr>
          <a:xfrm>
            <a:off x="9660392" y="5249222"/>
            <a:ext cx="1633138" cy="35338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Month, 2024</a:t>
            </a:r>
          </a:p>
        </p:txBody>
      </p:sp>
      <p:sp>
        <p:nvSpPr>
          <p:cNvPr id="6" name="Chevron 4">
            <a:extLst>
              <a:ext uri="{FF2B5EF4-FFF2-40B4-BE49-F238E27FC236}">
                <a16:creationId xmlns:a16="http://schemas.microsoft.com/office/drawing/2014/main" id="{71D815EA-7EF0-42B6-B4F1-5F98396983CC}"/>
              </a:ext>
            </a:extLst>
          </p:cNvPr>
          <p:cNvSpPr/>
          <p:nvPr/>
        </p:nvSpPr>
        <p:spPr>
          <a:xfrm>
            <a:off x="2543283" y="2370020"/>
            <a:ext cx="1897201" cy="920579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67CF6F0-5F7C-4E7C-ADFC-157D93501E3B}"/>
              </a:ext>
            </a:extLst>
          </p:cNvPr>
          <p:cNvSpPr txBox="1"/>
          <p:nvPr/>
        </p:nvSpPr>
        <p:spPr>
          <a:xfrm>
            <a:off x="3342222" y="2524831"/>
            <a:ext cx="410407" cy="64633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+mj-lt"/>
                <a:ea typeface="League Spartan" charset="0"/>
                <a:cs typeface="Poppins" pitchFamily="2" charset="77"/>
              </a:rPr>
              <a:t>2</a:t>
            </a:r>
          </a:p>
        </p:txBody>
      </p:sp>
      <p:sp>
        <p:nvSpPr>
          <p:cNvPr id="9" name="Chevron 7">
            <a:extLst>
              <a:ext uri="{FF2B5EF4-FFF2-40B4-BE49-F238E27FC236}">
                <a16:creationId xmlns:a16="http://schemas.microsoft.com/office/drawing/2014/main" id="{4261BAD0-D32D-4E0D-BBF6-1417B8B5E5C6}"/>
              </a:ext>
            </a:extLst>
          </p:cNvPr>
          <p:cNvSpPr/>
          <p:nvPr/>
        </p:nvSpPr>
        <p:spPr>
          <a:xfrm>
            <a:off x="6071200" y="2360493"/>
            <a:ext cx="1897202" cy="920579"/>
          </a:xfrm>
          <a:prstGeom prst="chevr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33AF31D-318E-4BEA-917F-1EF551A4B168}"/>
              </a:ext>
            </a:extLst>
          </p:cNvPr>
          <p:cNvSpPr txBox="1"/>
          <p:nvPr/>
        </p:nvSpPr>
        <p:spPr>
          <a:xfrm>
            <a:off x="6810397" y="2507144"/>
            <a:ext cx="410407" cy="64633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+mj-lt"/>
                <a:ea typeface="League Spartan" charset="0"/>
                <a:cs typeface="Poppins" pitchFamily="2" charset="77"/>
              </a:rPr>
              <a:t>4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5473C66-ABE9-4F3E-8976-7035329ECF47}"/>
              </a:ext>
            </a:extLst>
          </p:cNvPr>
          <p:cNvSpPr txBox="1"/>
          <p:nvPr/>
        </p:nvSpPr>
        <p:spPr>
          <a:xfrm>
            <a:off x="10077574" y="2507144"/>
            <a:ext cx="441146" cy="64633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+mj-lt"/>
                <a:ea typeface="League Spartan" charset="0"/>
                <a:cs typeface="Poppins" pitchFamily="2" charset="77"/>
              </a:rPr>
              <a:t>5</a:t>
            </a:r>
          </a:p>
        </p:txBody>
      </p:sp>
      <p:sp>
        <p:nvSpPr>
          <p:cNvPr id="8" name="Chevron 7">
            <a:extLst>
              <a:ext uri="{FF2B5EF4-FFF2-40B4-BE49-F238E27FC236}">
                <a16:creationId xmlns:a16="http://schemas.microsoft.com/office/drawing/2014/main" id="{B322840E-B064-AB29-23D5-7DDFC12EF9F8}"/>
              </a:ext>
            </a:extLst>
          </p:cNvPr>
          <p:cNvSpPr/>
          <p:nvPr/>
        </p:nvSpPr>
        <p:spPr>
          <a:xfrm>
            <a:off x="7835159" y="2360051"/>
            <a:ext cx="1897202" cy="920579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8163325-69FF-FFBB-B3A2-680CFEBB15DF}"/>
              </a:ext>
            </a:extLst>
          </p:cNvPr>
          <p:cNvSpPr txBox="1"/>
          <p:nvPr/>
        </p:nvSpPr>
        <p:spPr>
          <a:xfrm>
            <a:off x="8574356" y="2493711"/>
            <a:ext cx="441147" cy="64633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+mj-lt"/>
                <a:ea typeface="League Spartan" charset="0"/>
                <a:cs typeface="Poppins" pitchFamily="2" charset="77"/>
              </a:rPr>
              <a:t>5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69B6A999-A809-269C-5615-FB7102A980F4}"/>
              </a:ext>
            </a:extLst>
          </p:cNvPr>
          <p:cNvGrpSpPr/>
          <p:nvPr/>
        </p:nvGrpSpPr>
        <p:grpSpPr>
          <a:xfrm>
            <a:off x="4307241" y="2370020"/>
            <a:ext cx="1897202" cy="920579"/>
            <a:chOff x="4697444" y="2370020"/>
            <a:chExt cx="2019155" cy="920579"/>
          </a:xfrm>
        </p:grpSpPr>
        <p:sp>
          <p:nvSpPr>
            <p:cNvPr id="7" name="Chevron 5">
              <a:extLst>
                <a:ext uri="{FF2B5EF4-FFF2-40B4-BE49-F238E27FC236}">
                  <a16:creationId xmlns:a16="http://schemas.microsoft.com/office/drawing/2014/main" id="{82854377-D68C-4CEA-8669-C17ED94ABCEC}"/>
                </a:ext>
              </a:extLst>
            </p:cNvPr>
            <p:cNvSpPr/>
            <p:nvPr/>
          </p:nvSpPr>
          <p:spPr>
            <a:xfrm>
              <a:off x="4697444" y="2370020"/>
              <a:ext cx="2019155" cy="920579"/>
            </a:xfrm>
            <a:prstGeom prst="chevr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604503D-82C6-4AEA-8C21-56D2D78F03D2}"/>
                </a:ext>
              </a:extLst>
            </p:cNvPr>
            <p:cNvSpPr txBox="1"/>
            <p:nvPr/>
          </p:nvSpPr>
          <p:spPr>
            <a:xfrm>
              <a:off x="5484157" y="2526993"/>
              <a:ext cx="441146" cy="646331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en-US" sz="3600" b="1" dirty="0">
                  <a:solidFill>
                    <a:schemeClr val="bg1"/>
                  </a:solidFill>
                  <a:latin typeface="+mj-lt"/>
                  <a:ea typeface="League Spartan" charset="0"/>
                  <a:cs typeface="Poppins" pitchFamily="2" charset="77"/>
                </a:rPr>
                <a:t>3</a:t>
              </a:r>
            </a:p>
          </p:txBody>
        </p:sp>
      </p:grpSp>
      <p:sp>
        <p:nvSpPr>
          <p:cNvPr id="24" name="TextBox 16">
            <a:extLst>
              <a:ext uri="{FF2B5EF4-FFF2-40B4-BE49-F238E27FC236}">
                <a16:creationId xmlns:a16="http://schemas.microsoft.com/office/drawing/2014/main" id="{BAC6E54A-64FE-4B4C-8330-4C97BDD016B5}"/>
              </a:ext>
            </a:extLst>
          </p:cNvPr>
          <p:cNvSpPr txBox="1"/>
          <p:nvPr/>
        </p:nvSpPr>
        <p:spPr>
          <a:xfrm>
            <a:off x="4329652" y="3351439"/>
            <a:ext cx="1741548" cy="276999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pPr>
              <a:spcBef>
                <a:spcPts val="600"/>
              </a:spcBef>
            </a:pPr>
            <a:r>
              <a:rPr lang="en-US" sz="1200" b="1" dirty="0">
                <a:latin typeface="+mj-lt"/>
                <a:cs typeface="Poppins" pitchFamily="2" charset="77"/>
              </a:rPr>
              <a:t>Consultation Analysis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BB542140-0993-4B25-9CD8-D48C1340D633}"/>
              </a:ext>
            </a:extLst>
          </p:cNvPr>
          <p:cNvSpPr txBox="1">
            <a:spLocks/>
          </p:cNvSpPr>
          <p:nvPr/>
        </p:nvSpPr>
        <p:spPr>
          <a:xfrm>
            <a:off x="4304572" y="3645164"/>
            <a:ext cx="1633138" cy="1174745"/>
          </a:xfrm>
          <a:prstGeom prst="rect">
            <a:avLst/>
          </a:prstGeom>
        </p:spPr>
        <p:txBody>
          <a:bodyPr vert="horz" wrap="square" lIns="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50"/>
              </a:lnSpc>
              <a:spcBef>
                <a:spcPts val="600"/>
              </a:spcBef>
            </a:pPr>
            <a:r>
              <a:rPr lang="en-US" sz="1100" dirty="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HILTI team will take findings and start to analyze and put together our recommendation for an optimized solution.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9B12E8A-822C-3D84-9304-FACFB27106D9}"/>
              </a:ext>
            </a:extLst>
          </p:cNvPr>
          <p:cNvSpPr/>
          <p:nvPr/>
        </p:nvSpPr>
        <p:spPr>
          <a:xfrm>
            <a:off x="4322601" y="5258600"/>
            <a:ext cx="1717303" cy="35338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Month, 2024</a:t>
            </a:r>
          </a:p>
        </p:txBody>
      </p:sp>
      <p:sp>
        <p:nvSpPr>
          <p:cNvPr id="5" name="Pentagon 3">
            <a:extLst>
              <a:ext uri="{FF2B5EF4-FFF2-40B4-BE49-F238E27FC236}">
                <a16:creationId xmlns:a16="http://schemas.microsoft.com/office/drawing/2014/main" id="{777F634C-53D2-46D9-AEC3-0DD399B99E7F}"/>
              </a:ext>
            </a:extLst>
          </p:cNvPr>
          <p:cNvSpPr/>
          <p:nvPr/>
        </p:nvSpPr>
        <p:spPr>
          <a:xfrm>
            <a:off x="779324" y="2370020"/>
            <a:ext cx="1897202" cy="920579"/>
          </a:xfrm>
          <a:prstGeom prst="homePlat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A4A3893-4FB4-4B32-96E8-EC9B00BEEC45}"/>
              </a:ext>
            </a:extLst>
          </p:cNvPr>
          <p:cNvSpPr txBox="1"/>
          <p:nvPr/>
        </p:nvSpPr>
        <p:spPr>
          <a:xfrm>
            <a:off x="1373059" y="2519076"/>
            <a:ext cx="410407" cy="64633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+mj-lt"/>
                <a:ea typeface="League Spartan" charset="0"/>
                <a:cs typeface="Poppins" pitchFamily="2" charset="77"/>
              </a:rPr>
              <a:t>1</a:t>
            </a:r>
          </a:p>
        </p:txBody>
      </p:sp>
      <p:sp>
        <p:nvSpPr>
          <p:cNvPr id="32" name="Chevron 7">
            <a:extLst>
              <a:ext uri="{FF2B5EF4-FFF2-40B4-BE49-F238E27FC236}">
                <a16:creationId xmlns:a16="http://schemas.microsoft.com/office/drawing/2014/main" id="{54CA0EEC-2A7A-2929-69C3-40A974D7AF5B}"/>
              </a:ext>
            </a:extLst>
          </p:cNvPr>
          <p:cNvSpPr/>
          <p:nvPr/>
        </p:nvSpPr>
        <p:spPr>
          <a:xfrm>
            <a:off x="9599118" y="2363997"/>
            <a:ext cx="1897202" cy="920579"/>
          </a:xfrm>
          <a:prstGeom prst="chevron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E31C0A5-9D2F-764B-92B1-04E9FBB2645F}"/>
              </a:ext>
            </a:extLst>
          </p:cNvPr>
          <p:cNvSpPr txBox="1"/>
          <p:nvPr/>
        </p:nvSpPr>
        <p:spPr>
          <a:xfrm>
            <a:off x="10277344" y="2503753"/>
            <a:ext cx="441147" cy="64633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+mj-lt"/>
                <a:ea typeface="League Spartan" charset="0"/>
                <a:cs typeface="Poppins" pitchFamily="2" charset="77"/>
              </a:rPr>
              <a:t>6</a:t>
            </a:r>
          </a:p>
        </p:txBody>
      </p:sp>
      <p:pic>
        <p:nvPicPr>
          <p:cNvPr id="72" name="Grafik 37">
            <a:extLst>
              <a:ext uri="{FF2B5EF4-FFF2-40B4-BE49-F238E27FC236}">
                <a16:creationId xmlns:a16="http://schemas.microsoft.com/office/drawing/2014/main" id="{8D54A079-D9AE-3E61-1F58-79F32626DCB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9466" y="1177039"/>
            <a:ext cx="900000" cy="900000"/>
          </a:xfrm>
          <a:prstGeom prst="rect">
            <a:avLst/>
          </a:prstGeom>
        </p:spPr>
      </p:pic>
      <p:sp>
        <p:nvSpPr>
          <p:cNvPr id="95" name="AutoShape 2" descr="location">
            <a:extLst>
              <a:ext uri="{FF2B5EF4-FFF2-40B4-BE49-F238E27FC236}">
                <a16:creationId xmlns:a16="http://schemas.microsoft.com/office/drawing/2014/main" id="{7F0FAEA2-B19A-0461-3908-B1CFAF49D9B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103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97" name="Picture 96">
            <a:extLst>
              <a:ext uri="{FF2B5EF4-FFF2-40B4-BE49-F238E27FC236}">
                <a16:creationId xmlns:a16="http://schemas.microsoft.com/office/drawing/2014/main" id="{8D583762-06D9-DCB2-2E64-89362898FEB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30352" y="1174774"/>
            <a:ext cx="900000" cy="90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656686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47C76-2E74-4345-B601-F00A1BACFC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>
                <a:cs typeface="Arial"/>
              </a:rPr>
              <a:t>CURRENT STATE AND DESIRED STA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D678AC-45DD-E687-1D87-D9F783D6B1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1934" y="552403"/>
            <a:ext cx="7286116" cy="583200"/>
          </a:xfrm>
        </p:spPr>
        <p:txBody>
          <a:bodyPr>
            <a:normAutofit/>
          </a:bodyPr>
          <a:lstStyle/>
          <a:p>
            <a:pPr algn="l"/>
            <a:r>
              <a:rPr lang="en-US" sz="1400">
                <a:solidFill>
                  <a:schemeClr val="bg1">
                    <a:lumMod val="50000"/>
                  </a:schemeClr>
                </a:solidFill>
              </a:rPr>
              <a:t>XXXX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FA331D8E-4BDE-624F-3AB5-FCC3704DA301}"/>
              </a:ext>
            </a:extLst>
          </p:cNvPr>
          <p:cNvCxnSpPr>
            <a:cxnSpLocks/>
          </p:cNvCxnSpPr>
          <p:nvPr/>
        </p:nvCxnSpPr>
        <p:spPr>
          <a:xfrm>
            <a:off x="2508204" y="1887982"/>
            <a:ext cx="7109012" cy="0"/>
          </a:xfrm>
          <a:prstGeom prst="straightConnector1">
            <a:avLst/>
          </a:prstGeom>
          <a:ln w="12700" cap="rnd">
            <a:solidFill>
              <a:schemeClr val="tx1">
                <a:lumMod val="50000"/>
                <a:lumOff val="50000"/>
              </a:schemeClr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14">
            <a:extLst>
              <a:ext uri="{FF2B5EF4-FFF2-40B4-BE49-F238E27FC236}">
                <a16:creationId xmlns:a16="http://schemas.microsoft.com/office/drawing/2014/main" id="{EA9FE338-5BA8-D963-4BED-8208BBBA5BFA}"/>
              </a:ext>
            </a:extLst>
          </p:cNvPr>
          <p:cNvSpPr/>
          <p:nvPr/>
        </p:nvSpPr>
        <p:spPr bwMode="auto">
          <a:xfrm>
            <a:off x="1811129" y="1627275"/>
            <a:ext cx="503594" cy="503594"/>
          </a:xfrm>
          <a:prstGeom prst="ellipse">
            <a:avLst/>
          </a:prstGeom>
          <a:solidFill>
            <a:schemeClr val="bg1">
              <a:lumMod val="85000"/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latin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49B8581-79AB-E005-FA57-472AFDD89588}"/>
              </a:ext>
            </a:extLst>
          </p:cNvPr>
          <p:cNvSpPr txBox="1"/>
          <p:nvPr/>
        </p:nvSpPr>
        <p:spPr>
          <a:xfrm>
            <a:off x="1345183" y="2127660"/>
            <a:ext cx="147021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i="0">
                <a:solidFill>
                  <a:schemeClr val="accent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urrent</a:t>
            </a:r>
          </a:p>
          <a:p>
            <a:pPr algn="ctr"/>
            <a:r>
              <a:rPr lang="en-US" sz="1200" b="1" i="0">
                <a:solidFill>
                  <a:schemeClr val="accent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tate </a:t>
            </a:r>
            <a:endParaRPr lang="en-US" sz="1200" b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0C770913-C4A6-F1D0-E8EC-2ED428DA1EF3}"/>
              </a:ext>
            </a:extLst>
          </p:cNvPr>
          <p:cNvSpPr/>
          <p:nvPr/>
        </p:nvSpPr>
        <p:spPr>
          <a:xfrm>
            <a:off x="1942024" y="1758170"/>
            <a:ext cx="241806" cy="241806"/>
          </a:xfrm>
          <a:custGeom>
            <a:avLst/>
            <a:gdLst>
              <a:gd name="connsiteX0" fmla="*/ 438150 w 647700"/>
              <a:gd name="connsiteY0" fmla="*/ 514350 h 647700"/>
              <a:gd name="connsiteX1" fmla="*/ 438150 w 647700"/>
              <a:gd name="connsiteY1" fmla="*/ 590550 h 647700"/>
              <a:gd name="connsiteX2" fmla="*/ 590550 w 647700"/>
              <a:gd name="connsiteY2" fmla="*/ 590550 h 647700"/>
              <a:gd name="connsiteX3" fmla="*/ 590550 w 647700"/>
              <a:gd name="connsiteY3" fmla="*/ 514350 h 647700"/>
              <a:gd name="connsiteX4" fmla="*/ 247650 w 647700"/>
              <a:gd name="connsiteY4" fmla="*/ 514350 h 647700"/>
              <a:gd name="connsiteX5" fmla="*/ 247650 w 647700"/>
              <a:gd name="connsiteY5" fmla="*/ 590550 h 647700"/>
              <a:gd name="connsiteX6" fmla="*/ 400050 w 647700"/>
              <a:gd name="connsiteY6" fmla="*/ 590550 h 647700"/>
              <a:gd name="connsiteX7" fmla="*/ 400050 w 647700"/>
              <a:gd name="connsiteY7" fmla="*/ 514350 h 647700"/>
              <a:gd name="connsiteX8" fmla="*/ 57150 w 647700"/>
              <a:gd name="connsiteY8" fmla="*/ 514350 h 647700"/>
              <a:gd name="connsiteX9" fmla="*/ 57150 w 647700"/>
              <a:gd name="connsiteY9" fmla="*/ 590550 h 647700"/>
              <a:gd name="connsiteX10" fmla="*/ 209550 w 647700"/>
              <a:gd name="connsiteY10" fmla="*/ 590550 h 647700"/>
              <a:gd name="connsiteX11" fmla="*/ 209550 w 647700"/>
              <a:gd name="connsiteY11" fmla="*/ 514350 h 647700"/>
              <a:gd name="connsiteX12" fmla="*/ 438150 w 647700"/>
              <a:gd name="connsiteY12" fmla="*/ 400050 h 647700"/>
              <a:gd name="connsiteX13" fmla="*/ 438150 w 647700"/>
              <a:gd name="connsiteY13" fmla="*/ 476250 h 647700"/>
              <a:gd name="connsiteX14" fmla="*/ 590550 w 647700"/>
              <a:gd name="connsiteY14" fmla="*/ 476250 h 647700"/>
              <a:gd name="connsiteX15" fmla="*/ 590550 w 647700"/>
              <a:gd name="connsiteY15" fmla="*/ 400050 h 647700"/>
              <a:gd name="connsiteX16" fmla="*/ 247650 w 647700"/>
              <a:gd name="connsiteY16" fmla="*/ 400050 h 647700"/>
              <a:gd name="connsiteX17" fmla="*/ 247650 w 647700"/>
              <a:gd name="connsiteY17" fmla="*/ 476250 h 647700"/>
              <a:gd name="connsiteX18" fmla="*/ 400050 w 647700"/>
              <a:gd name="connsiteY18" fmla="*/ 476250 h 647700"/>
              <a:gd name="connsiteX19" fmla="*/ 400050 w 647700"/>
              <a:gd name="connsiteY19" fmla="*/ 400050 h 647700"/>
              <a:gd name="connsiteX20" fmla="*/ 57150 w 647700"/>
              <a:gd name="connsiteY20" fmla="*/ 400050 h 647700"/>
              <a:gd name="connsiteX21" fmla="*/ 57150 w 647700"/>
              <a:gd name="connsiteY21" fmla="*/ 476250 h 647700"/>
              <a:gd name="connsiteX22" fmla="*/ 209550 w 647700"/>
              <a:gd name="connsiteY22" fmla="*/ 476250 h 647700"/>
              <a:gd name="connsiteX23" fmla="*/ 209550 w 647700"/>
              <a:gd name="connsiteY23" fmla="*/ 400050 h 647700"/>
              <a:gd name="connsiteX24" fmla="*/ 438150 w 647700"/>
              <a:gd name="connsiteY24" fmla="*/ 285750 h 647700"/>
              <a:gd name="connsiteX25" fmla="*/ 438150 w 647700"/>
              <a:gd name="connsiteY25" fmla="*/ 361950 h 647700"/>
              <a:gd name="connsiteX26" fmla="*/ 590550 w 647700"/>
              <a:gd name="connsiteY26" fmla="*/ 361950 h 647700"/>
              <a:gd name="connsiteX27" fmla="*/ 590550 w 647700"/>
              <a:gd name="connsiteY27" fmla="*/ 285750 h 647700"/>
              <a:gd name="connsiteX28" fmla="*/ 247650 w 647700"/>
              <a:gd name="connsiteY28" fmla="*/ 285750 h 647700"/>
              <a:gd name="connsiteX29" fmla="*/ 247650 w 647700"/>
              <a:gd name="connsiteY29" fmla="*/ 361950 h 647700"/>
              <a:gd name="connsiteX30" fmla="*/ 400050 w 647700"/>
              <a:gd name="connsiteY30" fmla="*/ 361950 h 647700"/>
              <a:gd name="connsiteX31" fmla="*/ 400050 w 647700"/>
              <a:gd name="connsiteY31" fmla="*/ 285750 h 647700"/>
              <a:gd name="connsiteX32" fmla="*/ 57150 w 647700"/>
              <a:gd name="connsiteY32" fmla="*/ 285750 h 647700"/>
              <a:gd name="connsiteX33" fmla="*/ 57150 w 647700"/>
              <a:gd name="connsiteY33" fmla="*/ 361950 h 647700"/>
              <a:gd name="connsiteX34" fmla="*/ 209550 w 647700"/>
              <a:gd name="connsiteY34" fmla="*/ 361950 h 647700"/>
              <a:gd name="connsiteX35" fmla="*/ 209550 w 647700"/>
              <a:gd name="connsiteY35" fmla="*/ 285750 h 647700"/>
              <a:gd name="connsiteX36" fmla="*/ 0 w 647700"/>
              <a:gd name="connsiteY36" fmla="*/ 228600 h 647700"/>
              <a:gd name="connsiteX37" fmla="*/ 647700 w 647700"/>
              <a:gd name="connsiteY37" fmla="*/ 228600 h 647700"/>
              <a:gd name="connsiteX38" fmla="*/ 647700 w 647700"/>
              <a:gd name="connsiteY38" fmla="*/ 647700 h 647700"/>
              <a:gd name="connsiteX39" fmla="*/ 0 w 647700"/>
              <a:gd name="connsiteY39" fmla="*/ 647700 h 647700"/>
              <a:gd name="connsiteX40" fmla="*/ 0 w 647700"/>
              <a:gd name="connsiteY40" fmla="*/ 57150 h 647700"/>
              <a:gd name="connsiteX41" fmla="*/ 76200 w 647700"/>
              <a:gd name="connsiteY41" fmla="*/ 57150 h 647700"/>
              <a:gd name="connsiteX42" fmla="*/ 76200 w 647700"/>
              <a:gd name="connsiteY42" fmla="*/ 85725 h 647700"/>
              <a:gd name="connsiteX43" fmla="*/ 142875 w 647700"/>
              <a:gd name="connsiteY43" fmla="*/ 152400 h 647700"/>
              <a:gd name="connsiteX44" fmla="*/ 209550 w 647700"/>
              <a:gd name="connsiteY44" fmla="*/ 85725 h 647700"/>
              <a:gd name="connsiteX45" fmla="*/ 209550 w 647700"/>
              <a:gd name="connsiteY45" fmla="*/ 57150 h 647700"/>
              <a:gd name="connsiteX46" fmla="*/ 438150 w 647700"/>
              <a:gd name="connsiteY46" fmla="*/ 57150 h 647700"/>
              <a:gd name="connsiteX47" fmla="*/ 438150 w 647700"/>
              <a:gd name="connsiteY47" fmla="*/ 85725 h 647700"/>
              <a:gd name="connsiteX48" fmla="*/ 504825 w 647700"/>
              <a:gd name="connsiteY48" fmla="*/ 152400 h 647700"/>
              <a:gd name="connsiteX49" fmla="*/ 571500 w 647700"/>
              <a:gd name="connsiteY49" fmla="*/ 85725 h 647700"/>
              <a:gd name="connsiteX50" fmla="*/ 571500 w 647700"/>
              <a:gd name="connsiteY50" fmla="*/ 57150 h 647700"/>
              <a:gd name="connsiteX51" fmla="*/ 647700 w 647700"/>
              <a:gd name="connsiteY51" fmla="*/ 57150 h 647700"/>
              <a:gd name="connsiteX52" fmla="*/ 647700 w 647700"/>
              <a:gd name="connsiteY52" fmla="*/ 190500 h 647700"/>
              <a:gd name="connsiteX53" fmla="*/ 0 w 647700"/>
              <a:gd name="connsiteY53" fmla="*/ 190500 h 647700"/>
              <a:gd name="connsiteX54" fmla="*/ 504825 w 647700"/>
              <a:gd name="connsiteY54" fmla="*/ 0 h 647700"/>
              <a:gd name="connsiteX55" fmla="*/ 533400 w 647700"/>
              <a:gd name="connsiteY55" fmla="*/ 28575 h 647700"/>
              <a:gd name="connsiteX56" fmla="*/ 533400 w 647700"/>
              <a:gd name="connsiteY56" fmla="*/ 85725 h 647700"/>
              <a:gd name="connsiteX57" fmla="*/ 504825 w 647700"/>
              <a:gd name="connsiteY57" fmla="*/ 114300 h 647700"/>
              <a:gd name="connsiteX58" fmla="*/ 476250 w 647700"/>
              <a:gd name="connsiteY58" fmla="*/ 85725 h 647700"/>
              <a:gd name="connsiteX59" fmla="*/ 476250 w 647700"/>
              <a:gd name="connsiteY59" fmla="*/ 28575 h 647700"/>
              <a:gd name="connsiteX60" fmla="*/ 504825 w 647700"/>
              <a:gd name="connsiteY60" fmla="*/ 0 h 647700"/>
              <a:gd name="connsiteX61" fmla="*/ 142875 w 647700"/>
              <a:gd name="connsiteY61" fmla="*/ 0 h 647700"/>
              <a:gd name="connsiteX62" fmla="*/ 171450 w 647700"/>
              <a:gd name="connsiteY62" fmla="*/ 28575 h 647700"/>
              <a:gd name="connsiteX63" fmla="*/ 171450 w 647700"/>
              <a:gd name="connsiteY63" fmla="*/ 85725 h 647700"/>
              <a:gd name="connsiteX64" fmla="*/ 142875 w 647700"/>
              <a:gd name="connsiteY64" fmla="*/ 114300 h 647700"/>
              <a:gd name="connsiteX65" fmla="*/ 114300 w 647700"/>
              <a:gd name="connsiteY65" fmla="*/ 85725 h 647700"/>
              <a:gd name="connsiteX66" fmla="*/ 114300 w 647700"/>
              <a:gd name="connsiteY66" fmla="*/ 28575 h 647700"/>
              <a:gd name="connsiteX67" fmla="*/ 142875 w 647700"/>
              <a:gd name="connsiteY67" fmla="*/ 0 h 64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647700" h="647700">
                <a:moveTo>
                  <a:pt x="438150" y="514350"/>
                </a:moveTo>
                <a:lnTo>
                  <a:pt x="438150" y="590550"/>
                </a:lnTo>
                <a:lnTo>
                  <a:pt x="590550" y="590550"/>
                </a:lnTo>
                <a:lnTo>
                  <a:pt x="590550" y="514350"/>
                </a:lnTo>
                <a:close/>
                <a:moveTo>
                  <a:pt x="247650" y="514350"/>
                </a:moveTo>
                <a:lnTo>
                  <a:pt x="247650" y="590550"/>
                </a:lnTo>
                <a:lnTo>
                  <a:pt x="400050" y="590550"/>
                </a:lnTo>
                <a:lnTo>
                  <a:pt x="400050" y="514350"/>
                </a:lnTo>
                <a:close/>
                <a:moveTo>
                  <a:pt x="57150" y="514350"/>
                </a:moveTo>
                <a:lnTo>
                  <a:pt x="57150" y="590550"/>
                </a:lnTo>
                <a:lnTo>
                  <a:pt x="209550" y="590550"/>
                </a:lnTo>
                <a:lnTo>
                  <a:pt x="209550" y="514350"/>
                </a:lnTo>
                <a:close/>
                <a:moveTo>
                  <a:pt x="438150" y="400050"/>
                </a:moveTo>
                <a:lnTo>
                  <a:pt x="438150" y="476250"/>
                </a:lnTo>
                <a:lnTo>
                  <a:pt x="590550" y="476250"/>
                </a:lnTo>
                <a:lnTo>
                  <a:pt x="590550" y="400050"/>
                </a:lnTo>
                <a:close/>
                <a:moveTo>
                  <a:pt x="247650" y="400050"/>
                </a:moveTo>
                <a:lnTo>
                  <a:pt x="247650" y="476250"/>
                </a:lnTo>
                <a:lnTo>
                  <a:pt x="400050" y="476250"/>
                </a:lnTo>
                <a:lnTo>
                  <a:pt x="400050" y="400050"/>
                </a:lnTo>
                <a:close/>
                <a:moveTo>
                  <a:pt x="57150" y="400050"/>
                </a:moveTo>
                <a:lnTo>
                  <a:pt x="57150" y="476250"/>
                </a:lnTo>
                <a:lnTo>
                  <a:pt x="209550" y="476250"/>
                </a:lnTo>
                <a:lnTo>
                  <a:pt x="209550" y="400050"/>
                </a:lnTo>
                <a:close/>
                <a:moveTo>
                  <a:pt x="438150" y="285750"/>
                </a:moveTo>
                <a:lnTo>
                  <a:pt x="438150" y="361950"/>
                </a:lnTo>
                <a:lnTo>
                  <a:pt x="590550" y="361950"/>
                </a:lnTo>
                <a:lnTo>
                  <a:pt x="590550" y="285750"/>
                </a:lnTo>
                <a:close/>
                <a:moveTo>
                  <a:pt x="247650" y="285750"/>
                </a:moveTo>
                <a:lnTo>
                  <a:pt x="247650" y="361950"/>
                </a:lnTo>
                <a:lnTo>
                  <a:pt x="400050" y="361950"/>
                </a:lnTo>
                <a:lnTo>
                  <a:pt x="400050" y="285750"/>
                </a:lnTo>
                <a:close/>
                <a:moveTo>
                  <a:pt x="57150" y="285750"/>
                </a:moveTo>
                <a:lnTo>
                  <a:pt x="57150" y="361950"/>
                </a:lnTo>
                <a:lnTo>
                  <a:pt x="209550" y="361950"/>
                </a:lnTo>
                <a:lnTo>
                  <a:pt x="209550" y="285750"/>
                </a:lnTo>
                <a:close/>
                <a:moveTo>
                  <a:pt x="0" y="228600"/>
                </a:moveTo>
                <a:lnTo>
                  <a:pt x="647700" y="228600"/>
                </a:lnTo>
                <a:lnTo>
                  <a:pt x="647700" y="647700"/>
                </a:lnTo>
                <a:lnTo>
                  <a:pt x="0" y="647700"/>
                </a:lnTo>
                <a:close/>
                <a:moveTo>
                  <a:pt x="0" y="57150"/>
                </a:moveTo>
                <a:lnTo>
                  <a:pt x="76200" y="57150"/>
                </a:lnTo>
                <a:lnTo>
                  <a:pt x="76200" y="85725"/>
                </a:lnTo>
                <a:cubicBezTo>
                  <a:pt x="76200" y="122873"/>
                  <a:pt x="105728" y="152400"/>
                  <a:pt x="142875" y="152400"/>
                </a:cubicBezTo>
                <a:cubicBezTo>
                  <a:pt x="180023" y="152400"/>
                  <a:pt x="209550" y="122873"/>
                  <a:pt x="209550" y="85725"/>
                </a:cubicBezTo>
                <a:lnTo>
                  <a:pt x="209550" y="57150"/>
                </a:lnTo>
                <a:lnTo>
                  <a:pt x="438150" y="57150"/>
                </a:lnTo>
                <a:lnTo>
                  <a:pt x="438150" y="85725"/>
                </a:lnTo>
                <a:cubicBezTo>
                  <a:pt x="438150" y="122873"/>
                  <a:pt x="467678" y="152400"/>
                  <a:pt x="504825" y="152400"/>
                </a:cubicBezTo>
                <a:cubicBezTo>
                  <a:pt x="541973" y="152400"/>
                  <a:pt x="571500" y="122873"/>
                  <a:pt x="571500" y="85725"/>
                </a:cubicBezTo>
                <a:lnTo>
                  <a:pt x="571500" y="57150"/>
                </a:lnTo>
                <a:lnTo>
                  <a:pt x="647700" y="57150"/>
                </a:lnTo>
                <a:lnTo>
                  <a:pt x="647700" y="190500"/>
                </a:lnTo>
                <a:lnTo>
                  <a:pt x="0" y="190500"/>
                </a:lnTo>
                <a:close/>
                <a:moveTo>
                  <a:pt x="504825" y="0"/>
                </a:moveTo>
                <a:cubicBezTo>
                  <a:pt x="521017" y="0"/>
                  <a:pt x="533400" y="12383"/>
                  <a:pt x="533400" y="28575"/>
                </a:cubicBezTo>
                <a:lnTo>
                  <a:pt x="533400" y="85725"/>
                </a:lnTo>
                <a:cubicBezTo>
                  <a:pt x="533400" y="101918"/>
                  <a:pt x="521017" y="114300"/>
                  <a:pt x="504825" y="114300"/>
                </a:cubicBezTo>
                <a:cubicBezTo>
                  <a:pt x="488633" y="114300"/>
                  <a:pt x="476250" y="101918"/>
                  <a:pt x="476250" y="85725"/>
                </a:cubicBezTo>
                <a:lnTo>
                  <a:pt x="476250" y="28575"/>
                </a:lnTo>
                <a:cubicBezTo>
                  <a:pt x="476250" y="12383"/>
                  <a:pt x="488633" y="0"/>
                  <a:pt x="504825" y="0"/>
                </a:cubicBezTo>
                <a:close/>
                <a:moveTo>
                  <a:pt x="142875" y="0"/>
                </a:moveTo>
                <a:cubicBezTo>
                  <a:pt x="159068" y="0"/>
                  <a:pt x="171450" y="12383"/>
                  <a:pt x="171450" y="28575"/>
                </a:cubicBezTo>
                <a:lnTo>
                  <a:pt x="171450" y="85725"/>
                </a:lnTo>
                <a:cubicBezTo>
                  <a:pt x="171450" y="101918"/>
                  <a:pt x="159068" y="114300"/>
                  <a:pt x="142875" y="114300"/>
                </a:cubicBezTo>
                <a:cubicBezTo>
                  <a:pt x="126682" y="114300"/>
                  <a:pt x="114300" y="101918"/>
                  <a:pt x="114300" y="85725"/>
                </a:cubicBezTo>
                <a:lnTo>
                  <a:pt x="114300" y="28575"/>
                </a:lnTo>
                <a:cubicBezTo>
                  <a:pt x="114300" y="12383"/>
                  <a:pt x="126682" y="0"/>
                  <a:pt x="142875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88F8962-9D8C-5C58-BE38-728A9748A8CC}"/>
              </a:ext>
            </a:extLst>
          </p:cNvPr>
          <p:cNvSpPr/>
          <p:nvPr/>
        </p:nvSpPr>
        <p:spPr bwMode="auto">
          <a:xfrm>
            <a:off x="9816077" y="1624066"/>
            <a:ext cx="503594" cy="503594"/>
          </a:xfrm>
          <a:prstGeom prst="ellipse">
            <a:avLst/>
          </a:prstGeom>
          <a:solidFill>
            <a:schemeClr val="bg1">
              <a:lumMod val="85000"/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latin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3B76366-129B-197B-0BC4-F87CA4F48A23}"/>
              </a:ext>
            </a:extLst>
          </p:cNvPr>
          <p:cNvSpPr txBox="1"/>
          <p:nvPr/>
        </p:nvSpPr>
        <p:spPr>
          <a:xfrm>
            <a:off x="9724907" y="2193291"/>
            <a:ext cx="685934" cy="4757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ture</a:t>
            </a:r>
            <a:r>
              <a:rPr lang="en-US" sz="1200" b="1" i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State</a:t>
            </a:r>
            <a:endParaRPr lang="en-US" sz="1200" b="1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Freeform: Shape 81">
            <a:extLst>
              <a:ext uri="{FF2B5EF4-FFF2-40B4-BE49-F238E27FC236}">
                <a16:creationId xmlns:a16="http://schemas.microsoft.com/office/drawing/2014/main" id="{907CFD71-F3FA-0BB7-A1BF-A61ACF136600}"/>
              </a:ext>
            </a:extLst>
          </p:cNvPr>
          <p:cNvSpPr/>
          <p:nvPr/>
        </p:nvSpPr>
        <p:spPr>
          <a:xfrm>
            <a:off x="9961298" y="1723230"/>
            <a:ext cx="213154" cy="305266"/>
          </a:xfrm>
          <a:custGeom>
            <a:avLst/>
            <a:gdLst>
              <a:gd name="connsiteX0" fmla="*/ 21469 w 400752"/>
              <a:gd name="connsiteY0" fmla="*/ 1431 h 573934"/>
              <a:gd name="connsiteX1" fmla="*/ 42938 w 400752"/>
              <a:gd name="connsiteY1" fmla="*/ 22900 h 573934"/>
              <a:gd name="connsiteX2" fmla="*/ 42938 w 400752"/>
              <a:gd name="connsiteY2" fmla="*/ 573934 h 573934"/>
              <a:gd name="connsiteX3" fmla="*/ 0 w 400752"/>
              <a:gd name="connsiteY3" fmla="*/ 573934 h 573934"/>
              <a:gd name="connsiteX4" fmla="*/ 0 w 400752"/>
              <a:gd name="connsiteY4" fmla="*/ 22900 h 573934"/>
              <a:gd name="connsiteX5" fmla="*/ 21469 w 400752"/>
              <a:gd name="connsiteY5" fmla="*/ 1431 h 573934"/>
              <a:gd name="connsiteX6" fmla="*/ 162448 w 400752"/>
              <a:gd name="connsiteY6" fmla="*/ 0 h 573934"/>
              <a:gd name="connsiteX7" fmla="*/ 400752 w 400752"/>
              <a:gd name="connsiteY7" fmla="*/ 1431 h 573934"/>
              <a:gd name="connsiteX8" fmla="*/ 400752 w 400752"/>
              <a:gd name="connsiteY8" fmla="*/ 238304 h 573934"/>
              <a:gd name="connsiteX9" fmla="*/ 162448 w 400752"/>
              <a:gd name="connsiteY9" fmla="*/ 236873 h 573934"/>
              <a:gd name="connsiteX10" fmla="*/ 71563 w 400752"/>
              <a:gd name="connsiteY10" fmla="*/ 257626 h 573934"/>
              <a:gd name="connsiteX11" fmla="*/ 71563 w 400752"/>
              <a:gd name="connsiteY11" fmla="*/ 20753 h 573934"/>
              <a:gd name="connsiteX12" fmla="*/ 162448 w 400752"/>
              <a:gd name="connsiteY12" fmla="*/ 0 h 573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00752" h="573934">
                <a:moveTo>
                  <a:pt x="21469" y="1431"/>
                </a:moveTo>
                <a:cubicBezTo>
                  <a:pt x="33635" y="1431"/>
                  <a:pt x="42938" y="10734"/>
                  <a:pt x="42938" y="22900"/>
                </a:cubicBezTo>
                <a:lnTo>
                  <a:pt x="42938" y="573934"/>
                </a:lnTo>
                <a:lnTo>
                  <a:pt x="0" y="573934"/>
                </a:lnTo>
                <a:lnTo>
                  <a:pt x="0" y="22900"/>
                </a:lnTo>
                <a:cubicBezTo>
                  <a:pt x="0" y="10734"/>
                  <a:pt x="9303" y="1431"/>
                  <a:pt x="21469" y="1431"/>
                </a:cubicBezTo>
                <a:close/>
                <a:moveTo>
                  <a:pt x="162448" y="0"/>
                </a:moveTo>
                <a:cubicBezTo>
                  <a:pt x="238304" y="0"/>
                  <a:pt x="289830" y="34350"/>
                  <a:pt x="400752" y="1431"/>
                </a:cubicBezTo>
                <a:lnTo>
                  <a:pt x="400752" y="238304"/>
                </a:lnTo>
                <a:cubicBezTo>
                  <a:pt x="312730" y="278379"/>
                  <a:pt x="238304" y="236873"/>
                  <a:pt x="162448" y="236873"/>
                </a:cubicBezTo>
                <a:cubicBezTo>
                  <a:pt x="98757" y="236873"/>
                  <a:pt x="71563" y="257626"/>
                  <a:pt x="71563" y="257626"/>
                </a:cubicBezTo>
                <a:lnTo>
                  <a:pt x="71563" y="20753"/>
                </a:lnTo>
                <a:cubicBezTo>
                  <a:pt x="71563" y="20753"/>
                  <a:pt x="99473" y="0"/>
                  <a:pt x="162448" y="0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7144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F452762-83FC-8E78-7FD9-1A272ADD738A}"/>
              </a:ext>
            </a:extLst>
          </p:cNvPr>
          <p:cNvCxnSpPr/>
          <p:nvPr/>
        </p:nvCxnSpPr>
        <p:spPr>
          <a:xfrm>
            <a:off x="3729791" y="1690025"/>
            <a:ext cx="0" cy="395914"/>
          </a:xfrm>
          <a:prstGeom prst="line">
            <a:avLst/>
          </a:prstGeom>
          <a:ln w="12700" cap="rnd">
            <a:solidFill>
              <a:schemeClr val="tx1">
                <a:lumMod val="50000"/>
                <a:lumOff val="5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411561AE-13E0-0C92-4354-A9A602433260}"/>
              </a:ext>
            </a:extLst>
          </p:cNvPr>
          <p:cNvSpPr txBox="1"/>
          <p:nvPr/>
        </p:nvSpPr>
        <p:spPr>
          <a:xfrm>
            <a:off x="3063666" y="1420918"/>
            <a:ext cx="131748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i="0">
                <a:solidFill>
                  <a:schemeClr val="accent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hase 1</a:t>
            </a:r>
            <a:endParaRPr lang="en-US" sz="1200" b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67DFFA1-7736-9761-8945-AE9D49F4C5C7}"/>
              </a:ext>
            </a:extLst>
          </p:cNvPr>
          <p:cNvSpPr txBox="1"/>
          <p:nvPr/>
        </p:nvSpPr>
        <p:spPr>
          <a:xfrm>
            <a:off x="2803983" y="2134089"/>
            <a:ext cx="177304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ron</a:t>
            </a:r>
            <a:r>
              <a:rPr lang="en-US" sz="14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en-US" sz="1400" b="1" i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mplementation</a:t>
            </a:r>
          </a:p>
          <a:p>
            <a:pPr algn="ctr"/>
            <a:r>
              <a:rPr lang="en-US" sz="14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</a:t>
            </a:r>
          </a:p>
          <a:p>
            <a:pPr algn="ctr"/>
            <a:r>
              <a:rPr lang="en-US" sz="14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eld Demos​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9FD6EFC-B766-C29A-D244-358E70CB6AAB}"/>
              </a:ext>
            </a:extLst>
          </p:cNvPr>
          <p:cNvCxnSpPr/>
          <p:nvPr/>
        </p:nvCxnSpPr>
        <p:spPr>
          <a:xfrm>
            <a:off x="6054648" y="1690025"/>
            <a:ext cx="0" cy="395914"/>
          </a:xfrm>
          <a:prstGeom prst="line">
            <a:avLst/>
          </a:prstGeom>
          <a:ln w="12700" cap="rnd">
            <a:solidFill>
              <a:schemeClr val="tx1">
                <a:lumMod val="50000"/>
                <a:lumOff val="5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1929D9F5-BFB6-25A2-2E89-1FE0AAC6AD2E}"/>
              </a:ext>
            </a:extLst>
          </p:cNvPr>
          <p:cNvSpPr txBox="1"/>
          <p:nvPr/>
        </p:nvSpPr>
        <p:spPr>
          <a:xfrm>
            <a:off x="5403970" y="1387035"/>
            <a:ext cx="131748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ase </a:t>
            </a:r>
            <a:r>
              <a:rPr lang="en-US" sz="1200" b="1" i="0">
                <a:solidFill>
                  <a:schemeClr val="accent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200" b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A71DE69-2EB4-47F3-F462-5983887732BB}"/>
              </a:ext>
            </a:extLst>
          </p:cNvPr>
          <p:cNvSpPr txBox="1"/>
          <p:nvPr/>
        </p:nvSpPr>
        <p:spPr>
          <a:xfrm>
            <a:off x="5167845" y="2203044"/>
            <a:ext cx="177304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alysis    </a:t>
            </a:r>
          </a:p>
          <a:p>
            <a:pPr algn="ctr"/>
            <a:r>
              <a:rPr lang="en-US" sz="1400" b="1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</a:p>
          <a:p>
            <a:pPr algn="ctr"/>
            <a:r>
              <a:rPr lang="en-US" sz="1400" b="1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view &amp; Discus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970136E-B4A0-4BD6-D4B2-C8BA52330FEE}"/>
              </a:ext>
            </a:extLst>
          </p:cNvPr>
          <p:cNvCxnSpPr/>
          <p:nvPr/>
        </p:nvCxnSpPr>
        <p:spPr>
          <a:xfrm>
            <a:off x="8396003" y="1690025"/>
            <a:ext cx="0" cy="395914"/>
          </a:xfrm>
          <a:prstGeom prst="line">
            <a:avLst/>
          </a:prstGeom>
          <a:ln w="12700" cap="rnd">
            <a:solidFill>
              <a:schemeClr val="tx1">
                <a:lumMod val="50000"/>
                <a:lumOff val="5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F1665AB3-8E27-F283-9B97-04275EF34898}"/>
              </a:ext>
            </a:extLst>
          </p:cNvPr>
          <p:cNvSpPr txBox="1"/>
          <p:nvPr/>
        </p:nvSpPr>
        <p:spPr>
          <a:xfrm>
            <a:off x="7728151" y="1387035"/>
            <a:ext cx="131748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i="0">
                <a:solidFill>
                  <a:schemeClr val="accent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hase 3</a:t>
            </a:r>
            <a:endParaRPr lang="en-US" sz="1200" b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B034CB2-B26A-26E0-99A0-28E5E756C8E4}"/>
              </a:ext>
            </a:extLst>
          </p:cNvPr>
          <p:cNvSpPr txBox="1"/>
          <p:nvPr/>
        </p:nvSpPr>
        <p:spPr>
          <a:xfrm>
            <a:off x="7500369" y="2361313"/>
            <a:ext cx="177304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mplementa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BBA0CA8-B760-8C83-B3EA-A819061D3475}"/>
              </a:ext>
            </a:extLst>
          </p:cNvPr>
          <p:cNvSpPr/>
          <p:nvPr/>
        </p:nvSpPr>
        <p:spPr>
          <a:xfrm>
            <a:off x="1861344" y="3256769"/>
            <a:ext cx="2807020" cy="308499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1612835-EDF7-5E7D-2B8E-D00943E653D0}"/>
              </a:ext>
            </a:extLst>
          </p:cNvPr>
          <p:cNvSpPr/>
          <p:nvPr/>
        </p:nvSpPr>
        <p:spPr>
          <a:xfrm>
            <a:off x="4862030" y="3257598"/>
            <a:ext cx="2807020" cy="308499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C6090F-9FE9-DA1C-A49C-C2DC50509806}"/>
              </a:ext>
            </a:extLst>
          </p:cNvPr>
          <p:cNvSpPr/>
          <p:nvPr/>
        </p:nvSpPr>
        <p:spPr>
          <a:xfrm>
            <a:off x="7864378" y="3256769"/>
            <a:ext cx="2807020" cy="308499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68CFF32-CB02-2945-9BDF-17695C968FA3}"/>
              </a:ext>
            </a:extLst>
          </p:cNvPr>
          <p:cNvSpPr txBox="1"/>
          <p:nvPr/>
        </p:nvSpPr>
        <p:spPr>
          <a:xfrm>
            <a:off x="2011524" y="4035644"/>
            <a:ext cx="2459488" cy="14619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>
                <a:solidFill>
                  <a:schemeClr val="accent5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  <a:r>
              <a:rPr lang="en-US" sz="1000">
                <a:solidFill>
                  <a:schemeClr val="accent5">
                    <a:lumMod val="50000"/>
                  </a:schemeClr>
                </a:solidFill>
                <a:latin typeface="+mj-lt"/>
              </a:rPr>
              <a:t> </a:t>
            </a:r>
            <a:r>
              <a:rPr lang="en-US" sz="1000">
                <a:solidFill>
                  <a:schemeClr val="accent5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of HILTI’s new cordless platform, NURON.  Demoing tools with key field employees and identifying areas to increase productivity.​ </a:t>
            </a:r>
            <a:r>
              <a:rPr lang="en-US" sz="1000">
                <a:solidFill>
                  <a:schemeClr val="accent5">
                    <a:lumMod val="50000"/>
                  </a:schemeClr>
                </a:solidFill>
                <a:latin typeface="+mj-lt"/>
              </a:rPr>
              <a:t>Site Visit with key Foreman to better understand current applications, challenges, likes and needs of tool utilization.</a:t>
            </a:r>
            <a:endParaRPr lang="en-US" sz="1000">
              <a:solidFill>
                <a:schemeClr val="accent5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endParaRPr lang="en-US" sz="900">
              <a:solidFill>
                <a:schemeClr val="tx1">
                  <a:lumMod val="50000"/>
                  <a:lumOff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33B80B-D808-CB1E-AE1C-1900F7EEFAC5}"/>
              </a:ext>
            </a:extLst>
          </p:cNvPr>
          <p:cNvSpPr txBox="1"/>
          <p:nvPr/>
        </p:nvSpPr>
        <p:spPr>
          <a:xfrm>
            <a:off x="4980718" y="4061476"/>
            <a:ext cx="2688332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algn="just">
              <a:defRPr sz="100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n-US" dirty="0"/>
              <a:t>HILTI team will take findings and start to analyze and put together our recommendation for an optimized solution. ​</a:t>
            </a:r>
          </a:p>
          <a:p>
            <a:pPr algn="l"/>
            <a:r>
              <a:rPr lang="en-US" dirty="0"/>
              <a:t>Review of completed analysis, identified current costs and consult on recommended solutions for the futu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955466-33C6-0014-458D-09072109FC50}"/>
              </a:ext>
            </a:extLst>
          </p:cNvPr>
          <p:cNvSpPr txBox="1"/>
          <p:nvPr/>
        </p:nvSpPr>
        <p:spPr>
          <a:xfrm>
            <a:off x="8360280" y="4061476"/>
            <a:ext cx="1999928" cy="70788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de-DE"/>
            </a:defPPr>
            <a:lvl1pPr algn="just">
              <a:defRPr sz="100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n-US">
                <a:latin typeface="Arial"/>
                <a:cs typeface="Arial"/>
              </a:rPr>
              <a:t>Implementation of a full solution that allows your teams to be more productive and make  more profitabl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845FC83-7CF8-8D1E-A2C2-B5789D3288D8}"/>
              </a:ext>
            </a:extLst>
          </p:cNvPr>
          <p:cNvSpPr txBox="1"/>
          <p:nvPr/>
        </p:nvSpPr>
        <p:spPr>
          <a:xfrm>
            <a:off x="1654584" y="3300316"/>
            <a:ext cx="131748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i="0">
                <a:solidFill>
                  <a:schemeClr val="accent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hase 1</a:t>
            </a:r>
            <a:endParaRPr lang="en-US" sz="1200" b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567D88B-F467-D9A5-7886-6A4F64209E04}"/>
              </a:ext>
            </a:extLst>
          </p:cNvPr>
          <p:cNvSpPr txBox="1"/>
          <p:nvPr/>
        </p:nvSpPr>
        <p:spPr>
          <a:xfrm>
            <a:off x="4721550" y="3335384"/>
            <a:ext cx="131748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ase </a:t>
            </a:r>
            <a:r>
              <a:rPr lang="en-US" sz="1200" b="1" i="0">
                <a:solidFill>
                  <a:schemeClr val="accent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200" b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964B580-6536-2CC9-7CA9-AC2999A78B64}"/>
              </a:ext>
            </a:extLst>
          </p:cNvPr>
          <p:cNvSpPr txBox="1"/>
          <p:nvPr/>
        </p:nvSpPr>
        <p:spPr>
          <a:xfrm>
            <a:off x="7674575" y="3307795"/>
            <a:ext cx="131748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i="0">
                <a:solidFill>
                  <a:schemeClr val="accent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hase 3</a:t>
            </a:r>
            <a:endParaRPr lang="en-US" sz="1200" b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8772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6A4596C7-4A24-4553-B0CC-8552475ADD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6A4596C7-4A24-4553-B0CC-8552475ADD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C2BFAE1-45D3-4B3B-81D2-0BF25FA84FB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74345" y="262426"/>
            <a:ext cx="11376025" cy="792538"/>
          </a:xfrm>
        </p:spPr>
        <p:txBody>
          <a:bodyPr vert="horz"/>
          <a:lstStyle/>
          <a:p>
            <a:r>
              <a:rPr lang="en-US"/>
              <a:t>Executive Summary: Onboarding timeline overview</a:t>
            </a:r>
          </a:p>
        </p:txBody>
      </p:sp>
      <p:graphicFrame>
        <p:nvGraphicFramePr>
          <p:cNvPr id="33" name="Table 3">
            <a:extLst>
              <a:ext uri="{FF2B5EF4-FFF2-40B4-BE49-F238E27FC236}">
                <a16:creationId xmlns:a16="http://schemas.microsoft.com/office/drawing/2014/main" id="{E5D211B4-0F39-41F7-9651-009C4B51DBB2}"/>
              </a:ext>
            </a:extLst>
          </p:cNvPr>
          <p:cNvGraphicFramePr>
            <a:graphicFrameLocks noGrp="1"/>
          </p:cNvGraphicFramePr>
          <p:nvPr/>
        </p:nvGraphicFramePr>
        <p:xfrm>
          <a:off x="569766" y="1372321"/>
          <a:ext cx="11052467" cy="35864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0746">
                  <a:extLst>
                    <a:ext uri="{9D8B030D-6E8A-4147-A177-3AD203B41FA5}">
                      <a16:colId xmlns:a16="http://schemas.microsoft.com/office/drawing/2014/main" val="1898694509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1732847576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67289602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2420881553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534672992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1811847961"/>
                    </a:ext>
                  </a:extLst>
                </a:gridCol>
                <a:gridCol w="293603">
                  <a:extLst>
                    <a:ext uri="{9D8B030D-6E8A-4147-A177-3AD203B41FA5}">
                      <a16:colId xmlns:a16="http://schemas.microsoft.com/office/drawing/2014/main" val="3102452494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2838758114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1032220550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3654662912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3600099043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1539226204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1940498506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2177391823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1587180671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2139093092"/>
                    </a:ext>
                  </a:extLst>
                </a:gridCol>
                <a:gridCol w="293603">
                  <a:extLst>
                    <a:ext uri="{9D8B030D-6E8A-4147-A177-3AD203B41FA5}">
                      <a16:colId xmlns:a16="http://schemas.microsoft.com/office/drawing/2014/main" val="171333015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1192016745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344341444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4040997109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2240867221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260161554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38099763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1210470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1793218541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3620774138"/>
                    </a:ext>
                  </a:extLst>
                </a:gridCol>
                <a:gridCol w="293603">
                  <a:extLst>
                    <a:ext uri="{9D8B030D-6E8A-4147-A177-3AD203B41FA5}">
                      <a16:colId xmlns:a16="http://schemas.microsoft.com/office/drawing/2014/main" val="121394240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1926810676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707565859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572202529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1470088581"/>
                    </a:ext>
                  </a:extLst>
                </a:gridCol>
                <a:gridCol w="293604">
                  <a:extLst>
                    <a:ext uri="{9D8B030D-6E8A-4147-A177-3AD203B41FA5}">
                      <a16:colId xmlns:a16="http://schemas.microsoft.com/office/drawing/2014/main" val="3759640181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l"/>
                      <a:endParaRPr lang="en-US" sz="1200" b="1">
                        <a:solidFill>
                          <a:srgbClr val="671C3E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1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2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3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4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5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6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7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8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9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10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11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12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13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14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15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16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17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18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19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20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21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22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23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24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25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26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27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28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29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30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4"/>
                          </a:solidFill>
                        </a:rPr>
                        <a:t>31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98886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/>
                      <a:r>
                        <a:rPr lang="en-U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Phase 1</a:t>
                      </a:r>
                    </a:p>
                  </a:txBody>
                  <a:tcPr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36343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000" kern="1200">
                          <a:solidFill>
                            <a:schemeClr val="tx1"/>
                          </a:solidFill>
                          <a:latin typeface="+mn-lt"/>
                          <a:ea typeface="Lato Light" panose="020F0502020204030203" pitchFamily="34" charset="0"/>
                          <a:cs typeface="Mukta ExtraLight" panose="020B0000000000000000" pitchFamily="34" charset="77"/>
                        </a:rPr>
                        <a:t>Introduction NURON</a:t>
                      </a:r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56599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Field Demos</a:t>
                      </a:r>
                    </a:p>
                  </a:txBody>
                  <a:tcPr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188177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Phase 2</a:t>
                      </a:r>
                    </a:p>
                  </a:txBody>
                  <a:tcPr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84571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Consultation Analysis </a:t>
                      </a:r>
                    </a:p>
                  </a:txBody>
                  <a:tcPr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1980430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Review &amp; Discuss</a:t>
                      </a:r>
                    </a:p>
                  </a:txBody>
                  <a:tcPr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509506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Phase 3</a:t>
                      </a:r>
                    </a:p>
                  </a:txBody>
                  <a:tcPr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39698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Implementation</a:t>
                      </a:r>
                    </a:p>
                  </a:txBody>
                  <a:tcPr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341588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     Tools Training</a:t>
                      </a:r>
                    </a:p>
                  </a:txBody>
                  <a:tcPr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9570897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     Software Training</a:t>
                      </a:r>
                    </a:p>
                  </a:txBody>
                  <a:tcPr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765052"/>
                  </a:ext>
                </a:extLst>
              </a:tr>
              <a:tr h="33287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     </a:t>
                      </a:r>
                      <a:r>
                        <a:rPr lang="en-US" sz="1000" err="1">
                          <a:solidFill>
                            <a:schemeClr val="tx1"/>
                          </a:solidFill>
                        </a:rPr>
                        <a:t>xxxxx</a:t>
                      </a:r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452415"/>
                  </a:ext>
                </a:extLst>
              </a:tr>
            </a:tbl>
          </a:graphicData>
        </a:graphic>
      </p:graphicFrame>
      <p:sp>
        <p:nvSpPr>
          <p:cNvPr id="65" name="Rectangle 64">
            <a:extLst>
              <a:ext uri="{FF2B5EF4-FFF2-40B4-BE49-F238E27FC236}">
                <a16:creationId xmlns:a16="http://schemas.microsoft.com/office/drawing/2014/main" id="{E91A1B08-F3B9-48A3-A32A-4F9B71D5508D}"/>
              </a:ext>
            </a:extLst>
          </p:cNvPr>
          <p:cNvSpPr/>
          <p:nvPr/>
        </p:nvSpPr>
        <p:spPr bwMode="gray">
          <a:xfrm>
            <a:off x="2649208" y="1815283"/>
            <a:ext cx="2506597" cy="1659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000" b="1">
              <a:solidFill>
                <a:schemeClr val="accent5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8467A65-4155-4CD4-8665-5C3CF07A3973}"/>
              </a:ext>
            </a:extLst>
          </p:cNvPr>
          <p:cNvSpPr/>
          <p:nvPr/>
        </p:nvSpPr>
        <p:spPr bwMode="gray">
          <a:xfrm>
            <a:off x="2649208" y="2160170"/>
            <a:ext cx="1537678" cy="1659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000" b="1">
              <a:solidFill>
                <a:schemeClr val="accent5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DAC54590-4D83-4C8B-92FA-AF7577B767B6}"/>
              </a:ext>
            </a:extLst>
          </p:cNvPr>
          <p:cNvSpPr/>
          <p:nvPr/>
        </p:nvSpPr>
        <p:spPr bwMode="gray">
          <a:xfrm>
            <a:off x="4186886" y="2382307"/>
            <a:ext cx="968919" cy="1659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000" b="1">
              <a:solidFill>
                <a:schemeClr val="accent5"/>
              </a:solidFill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FDC1706F-6AF8-4FDB-A82E-974A11992E2E}"/>
              </a:ext>
            </a:extLst>
          </p:cNvPr>
          <p:cNvSpPr/>
          <p:nvPr/>
        </p:nvSpPr>
        <p:spPr bwMode="gray">
          <a:xfrm>
            <a:off x="5257359" y="2701484"/>
            <a:ext cx="2417811" cy="16096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000" b="1">
              <a:solidFill>
                <a:schemeClr val="accent5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940AF88-7237-812F-AF2B-F39B5B1EC76F}"/>
              </a:ext>
            </a:extLst>
          </p:cNvPr>
          <p:cNvSpPr/>
          <p:nvPr/>
        </p:nvSpPr>
        <p:spPr bwMode="gray">
          <a:xfrm>
            <a:off x="5255016" y="3021992"/>
            <a:ext cx="1600004" cy="1627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000" b="1">
              <a:solidFill>
                <a:schemeClr val="accent5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984C6D2-96B0-072B-C255-3BA49F694A7B}"/>
              </a:ext>
            </a:extLst>
          </p:cNvPr>
          <p:cNvSpPr/>
          <p:nvPr/>
        </p:nvSpPr>
        <p:spPr bwMode="gray">
          <a:xfrm>
            <a:off x="6780165" y="3227742"/>
            <a:ext cx="895006" cy="1659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000" b="1">
              <a:solidFill>
                <a:schemeClr val="accent5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FD63F14-B020-DAA4-DA94-65FCD46A9F10}"/>
              </a:ext>
            </a:extLst>
          </p:cNvPr>
          <p:cNvSpPr/>
          <p:nvPr/>
        </p:nvSpPr>
        <p:spPr bwMode="gray">
          <a:xfrm>
            <a:off x="7675170" y="3581400"/>
            <a:ext cx="3602430" cy="16096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000" b="1">
              <a:solidFill>
                <a:schemeClr val="accent5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B5AA33-47A5-38FF-F9DC-32B120542E9A}"/>
              </a:ext>
            </a:extLst>
          </p:cNvPr>
          <p:cNvSpPr/>
          <p:nvPr/>
        </p:nvSpPr>
        <p:spPr bwMode="gray">
          <a:xfrm>
            <a:off x="7679434" y="3886200"/>
            <a:ext cx="3598165" cy="16096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000" b="1">
              <a:solidFill>
                <a:schemeClr val="accent5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6611B3A-AE23-96FF-7636-0EC6F1574354}"/>
              </a:ext>
            </a:extLst>
          </p:cNvPr>
          <p:cNvSpPr/>
          <p:nvPr/>
        </p:nvSpPr>
        <p:spPr bwMode="gray">
          <a:xfrm>
            <a:off x="7675170" y="4208035"/>
            <a:ext cx="597046" cy="16591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000" b="1">
              <a:solidFill>
                <a:schemeClr val="accent5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BB0E21C-CDE0-B0E3-26A1-886DDDB6ABA0}"/>
              </a:ext>
            </a:extLst>
          </p:cNvPr>
          <p:cNvSpPr/>
          <p:nvPr/>
        </p:nvSpPr>
        <p:spPr bwMode="gray">
          <a:xfrm>
            <a:off x="7973693" y="4435026"/>
            <a:ext cx="1600004" cy="16591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000" b="1">
              <a:solidFill>
                <a:schemeClr val="accent5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71CC57E-7EE8-DF59-87AC-0E2C3E41D18E}"/>
              </a:ext>
            </a:extLst>
          </p:cNvPr>
          <p:cNvSpPr/>
          <p:nvPr/>
        </p:nvSpPr>
        <p:spPr bwMode="gray">
          <a:xfrm>
            <a:off x="9220200" y="4696893"/>
            <a:ext cx="2067436" cy="16096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000" b="1">
              <a:solidFill>
                <a:schemeClr val="accent5"/>
              </a:solidFill>
            </a:endParaRPr>
          </a:p>
        </p:txBody>
      </p:sp>
      <p:sp>
        <p:nvSpPr>
          <p:cNvPr id="26" name="Isosceles Triangle 25">
            <a:extLst>
              <a:ext uri="{FF2B5EF4-FFF2-40B4-BE49-F238E27FC236}">
                <a16:creationId xmlns:a16="http://schemas.microsoft.com/office/drawing/2014/main" id="{067DF586-2E3F-C5C8-4952-AE9757F54359}"/>
              </a:ext>
            </a:extLst>
          </p:cNvPr>
          <p:cNvSpPr/>
          <p:nvPr/>
        </p:nvSpPr>
        <p:spPr>
          <a:xfrm>
            <a:off x="5016572" y="6170295"/>
            <a:ext cx="304800" cy="200400"/>
          </a:xfrm>
          <a:prstGeom prst="triangle">
            <a:avLst/>
          </a:prstGeom>
          <a:solidFill>
            <a:srgbClr val="C00000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27" name="Isosceles Triangle 26">
            <a:extLst>
              <a:ext uri="{FF2B5EF4-FFF2-40B4-BE49-F238E27FC236}">
                <a16:creationId xmlns:a16="http://schemas.microsoft.com/office/drawing/2014/main" id="{A10CCAF6-CA28-EEF3-7544-6B670B6EE49C}"/>
              </a:ext>
            </a:extLst>
          </p:cNvPr>
          <p:cNvSpPr/>
          <p:nvPr/>
        </p:nvSpPr>
        <p:spPr>
          <a:xfrm>
            <a:off x="7075268" y="6170295"/>
            <a:ext cx="304800" cy="200400"/>
          </a:xfrm>
          <a:prstGeom prst="triangle">
            <a:avLst/>
          </a:prstGeom>
          <a:solidFill>
            <a:srgbClr val="C00000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28" name="Isosceles Triangle 27">
            <a:extLst>
              <a:ext uri="{FF2B5EF4-FFF2-40B4-BE49-F238E27FC236}">
                <a16:creationId xmlns:a16="http://schemas.microsoft.com/office/drawing/2014/main" id="{1880B0BB-F7CE-ADA6-E274-6F94C92C5D48}"/>
              </a:ext>
            </a:extLst>
          </p:cNvPr>
          <p:cNvSpPr/>
          <p:nvPr/>
        </p:nvSpPr>
        <p:spPr>
          <a:xfrm>
            <a:off x="9133964" y="6170295"/>
            <a:ext cx="304800" cy="200400"/>
          </a:xfrm>
          <a:prstGeom prst="triangle">
            <a:avLst/>
          </a:prstGeom>
          <a:solidFill>
            <a:srgbClr val="C00000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E2D3AFE3-F3D6-5F49-80A3-4AD529384777}"/>
              </a:ext>
            </a:extLst>
          </p:cNvPr>
          <p:cNvSpPr/>
          <p:nvPr/>
        </p:nvSpPr>
        <p:spPr>
          <a:xfrm>
            <a:off x="11192660" y="6170295"/>
            <a:ext cx="304800" cy="200400"/>
          </a:xfrm>
          <a:prstGeom prst="triangle">
            <a:avLst/>
          </a:prstGeom>
          <a:solidFill>
            <a:srgbClr val="C00000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6F06574-08D2-8D5D-9540-F63AEF585959}"/>
              </a:ext>
            </a:extLst>
          </p:cNvPr>
          <p:cNvGrpSpPr/>
          <p:nvPr/>
        </p:nvGrpSpPr>
        <p:grpSpPr>
          <a:xfrm>
            <a:off x="609599" y="884082"/>
            <a:ext cx="1172343" cy="549314"/>
            <a:chOff x="10454262" y="391389"/>
            <a:chExt cx="1585338" cy="549314"/>
          </a:xfrm>
        </p:grpSpPr>
        <p:sp>
          <p:nvSpPr>
            <p:cNvPr id="30" name="Isosceles Triangle 29">
              <a:extLst>
                <a:ext uri="{FF2B5EF4-FFF2-40B4-BE49-F238E27FC236}">
                  <a16:creationId xmlns:a16="http://schemas.microsoft.com/office/drawing/2014/main" id="{228B89E7-D9F7-E67B-3611-F74014AA2FB8}"/>
                </a:ext>
              </a:extLst>
            </p:cNvPr>
            <p:cNvSpPr/>
            <p:nvPr/>
          </p:nvSpPr>
          <p:spPr>
            <a:xfrm>
              <a:off x="10454262" y="391389"/>
              <a:ext cx="271867" cy="131169"/>
            </a:xfrm>
            <a:prstGeom prst="triangle">
              <a:avLst/>
            </a:prstGeom>
            <a:solidFill>
              <a:srgbClr val="C00000"/>
            </a:solidFill>
            <a:ln w="63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FD429F2-449B-DA5E-E049-F34D6F00E6D1}"/>
                </a:ext>
              </a:extLst>
            </p:cNvPr>
            <p:cNvSpPr txBox="1"/>
            <p:nvPr/>
          </p:nvSpPr>
          <p:spPr>
            <a:xfrm>
              <a:off x="10861967" y="400409"/>
              <a:ext cx="922045" cy="1221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07000"/>
                </a:lnSpc>
                <a:spcBef>
                  <a:spcPts val="1000"/>
                </a:spcBef>
                <a:buClr>
                  <a:srgbClr val="A19DA2"/>
                </a:buClr>
              </a:pPr>
              <a:r>
                <a:rPr lang="en-US" sz="800"/>
                <a:t>Review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DEEDE28B-5C69-2B43-F732-4B853625BA75}"/>
                </a:ext>
              </a:extLst>
            </p:cNvPr>
            <p:cNvSpPr/>
            <p:nvPr/>
          </p:nvSpPr>
          <p:spPr bwMode="gray">
            <a:xfrm>
              <a:off x="10488614" y="609280"/>
              <a:ext cx="198674" cy="13116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700" b="1">
                <a:solidFill>
                  <a:schemeClr val="accent5"/>
                </a:solidFill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CEB6CE2-C008-AC69-9142-8ACB8CE5DB9C}"/>
                </a:ext>
              </a:extLst>
            </p:cNvPr>
            <p:cNvSpPr txBox="1"/>
            <p:nvPr/>
          </p:nvSpPr>
          <p:spPr>
            <a:xfrm>
              <a:off x="10861967" y="618300"/>
              <a:ext cx="1177633" cy="1221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07000"/>
                </a:lnSpc>
                <a:spcBef>
                  <a:spcPts val="1000"/>
                </a:spcBef>
                <a:buClr>
                  <a:srgbClr val="A19DA2"/>
                </a:buClr>
              </a:pPr>
              <a:r>
                <a:rPr lang="en-US" sz="800"/>
                <a:t>Total Time of Impl.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015F399B-8FBA-93E5-F15C-98B4B989CDC8}"/>
                </a:ext>
              </a:extLst>
            </p:cNvPr>
            <p:cNvSpPr/>
            <p:nvPr/>
          </p:nvSpPr>
          <p:spPr bwMode="gray">
            <a:xfrm>
              <a:off x="10488613" y="809534"/>
              <a:ext cx="198674" cy="13116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700" b="1">
                <a:solidFill>
                  <a:schemeClr val="accent5"/>
                </a:solidFill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036D0252-FD9E-22C1-4DD0-A5C37D6C0ED2}"/>
                </a:ext>
              </a:extLst>
            </p:cNvPr>
            <p:cNvSpPr txBox="1"/>
            <p:nvPr/>
          </p:nvSpPr>
          <p:spPr>
            <a:xfrm>
              <a:off x="10861966" y="818554"/>
              <a:ext cx="1177633" cy="1221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07000"/>
                </a:lnSpc>
                <a:spcBef>
                  <a:spcPts val="1000"/>
                </a:spcBef>
                <a:buClr>
                  <a:srgbClr val="A19DA2"/>
                </a:buClr>
              </a:pPr>
              <a:r>
                <a:rPr lang="en-US" sz="800"/>
                <a:t>Sub tasks</a:t>
              </a:r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0B1441D-881C-44E9-B228-92717B18D5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33613" y="6441356"/>
            <a:ext cx="9108516" cy="187694"/>
          </a:xfrm>
        </p:spPr>
        <p:txBody>
          <a:bodyPr/>
          <a:lstStyle/>
          <a:p>
            <a:r>
              <a:rPr lang="en-US"/>
              <a:t>Executive Summary</a:t>
            </a:r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7365015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98E7DE00-B826-46CB-978C-4628A4D889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3087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98E7DE00-B826-46CB-978C-4628A4D88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D1B74168-CBE7-4C43-B87B-2A4461CFCAB8}"/>
              </a:ext>
            </a:extLst>
          </p:cNvPr>
          <p:cNvGrpSpPr/>
          <p:nvPr/>
        </p:nvGrpSpPr>
        <p:grpSpPr bwMode="gray">
          <a:xfrm>
            <a:off x="0" y="-457200"/>
            <a:ext cx="12188952" cy="6430921"/>
            <a:chOff x="0" y="-409533"/>
            <a:chExt cx="12188952" cy="6430921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1CFBFBC4-4AE6-4DD6-BC49-9F722A9591EF}"/>
                </a:ext>
              </a:extLst>
            </p:cNvPr>
            <p:cNvGrpSpPr/>
            <p:nvPr/>
          </p:nvGrpSpPr>
          <p:grpSpPr bwMode="gray">
            <a:xfrm>
              <a:off x="0" y="-409533"/>
              <a:ext cx="12188952" cy="6430921"/>
              <a:chOff x="0" y="-409533"/>
              <a:chExt cx="12188952" cy="6430921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F7E43081-C5B9-47BA-A687-D58FBAC34FA7}"/>
                  </a:ext>
                </a:extLst>
              </p:cNvPr>
              <p:cNvSpPr/>
              <p:nvPr/>
            </p:nvSpPr>
            <p:spPr bwMode="gray">
              <a:xfrm>
                <a:off x="0" y="5193792"/>
                <a:ext cx="12188952" cy="82759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600" b="0" i="0" u="none" baseline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7F795FFC-168A-4BDA-BA76-5061E5D7B501}"/>
                  </a:ext>
                </a:extLst>
              </p:cNvPr>
              <p:cNvSpPr/>
              <p:nvPr/>
            </p:nvSpPr>
            <p:spPr bwMode="gray">
              <a:xfrm flipH="1">
                <a:off x="0" y="-409533"/>
                <a:ext cx="12188952" cy="5842171"/>
              </a:xfrm>
              <a:custGeom>
                <a:avLst/>
                <a:gdLst>
                  <a:gd name="connsiteX0" fmla="*/ 5911642 w 12188952"/>
                  <a:gd name="connsiteY0" fmla="*/ 3974299 h 5842171"/>
                  <a:gd name="connsiteX1" fmla="*/ 6255302 w 12188952"/>
                  <a:gd name="connsiteY1" fmla="*/ 4323207 h 5842171"/>
                  <a:gd name="connsiteX2" fmla="*/ 6162757 w 12188952"/>
                  <a:gd name="connsiteY2" fmla="*/ 4399750 h 5842171"/>
                  <a:gd name="connsiteX3" fmla="*/ 5854083 w 12188952"/>
                  <a:gd name="connsiteY3" fmla="*/ 4395423 h 5842171"/>
                  <a:gd name="connsiteX4" fmla="*/ 5832075 w 12188952"/>
                  <a:gd name="connsiteY4" fmla="*/ 4391095 h 5842171"/>
                  <a:gd name="connsiteX5" fmla="*/ 5911642 w 12188952"/>
                  <a:gd name="connsiteY5" fmla="*/ 3974299 h 5842171"/>
                  <a:gd name="connsiteX6" fmla="*/ 5470247 w 12188952"/>
                  <a:gd name="connsiteY6" fmla="*/ 3063624 h 5842171"/>
                  <a:gd name="connsiteX7" fmla="*/ 5554064 w 12188952"/>
                  <a:gd name="connsiteY7" fmla="*/ 3152973 h 5842171"/>
                  <a:gd name="connsiteX8" fmla="*/ 5651117 w 12188952"/>
                  <a:gd name="connsiteY8" fmla="*/ 3242344 h 5842171"/>
                  <a:gd name="connsiteX9" fmla="*/ 5831987 w 12188952"/>
                  <a:gd name="connsiteY9" fmla="*/ 3395532 h 5842171"/>
                  <a:gd name="connsiteX10" fmla="*/ 5840802 w 12188952"/>
                  <a:gd name="connsiteY10" fmla="*/ 3455091 h 5842171"/>
                  <a:gd name="connsiteX11" fmla="*/ 5854039 w 12188952"/>
                  <a:gd name="connsiteY11" fmla="*/ 3523167 h 5842171"/>
                  <a:gd name="connsiteX12" fmla="*/ 5858461 w 12188952"/>
                  <a:gd name="connsiteY12" fmla="*/ 3535944 h 5842171"/>
                  <a:gd name="connsiteX13" fmla="*/ 5871698 w 12188952"/>
                  <a:gd name="connsiteY13" fmla="*/ 3535944 h 5842171"/>
                  <a:gd name="connsiteX14" fmla="*/ 5915803 w 12188952"/>
                  <a:gd name="connsiteY14" fmla="*/ 3540203 h 5842171"/>
                  <a:gd name="connsiteX15" fmla="*/ 5959935 w 12188952"/>
                  <a:gd name="connsiteY15" fmla="*/ 3544439 h 5842171"/>
                  <a:gd name="connsiteX16" fmla="*/ 6052567 w 12188952"/>
                  <a:gd name="connsiteY16" fmla="*/ 3552957 h 5842171"/>
                  <a:gd name="connsiteX17" fmla="*/ 5964330 w 12188952"/>
                  <a:gd name="connsiteY17" fmla="*/ 3523167 h 5842171"/>
                  <a:gd name="connsiteX18" fmla="*/ 5920224 w 12188952"/>
                  <a:gd name="connsiteY18" fmla="*/ 3510412 h 5842171"/>
                  <a:gd name="connsiteX19" fmla="*/ 5889356 w 12188952"/>
                  <a:gd name="connsiteY19" fmla="*/ 3501894 h 5842171"/>
                  <a:gd name="connsiteX20" fmla="*/ 5884935 w 12188952"/>
                  <a:gd name="connsiteY20" fmla="*/ 3442314 h 5842171"/>
                  <a:gd name="connsiteX21" fmla="*/ 5876119 w 12188952"/>
                  <a:gd name="connsiteY21" fmla="*/ 3374237 h 5842171"/>
                  <a:gd name="connsiteX22" fmla="*/ 5876119 w 12188952"/>
                  <a:gd name="connsiteY22" fmla="*/ 3365742 h 5842171"/>
                  <a:gd name="connsiteX23" fmla="*/ 5867303 w 12188952"/>
                  <a:gd name="connsiteY23" fmla="*/ 3361483 h 5842171"/>
                  <a:gd name="connsiteX24" fmla="*/ 5677591 w 12188952"/>
                  <a:gd name="connsiteY24" fmla="*/ 3204036 h 5842171"/>
                  <a:gd name="connsiteX25" fmla="*/ 5576116 w 12188952"/>
                  <a:gd name="connsiteY25" fmla="*/ 3131700 h 5842171"/>
                  <a:gd name="connsiteX26" fmla="*/ 5470247 w 12188952"/>
                  <a:gd name="connsiteY26" fmla="*/ 3063624 h 5842171"/>
                  <a:gd name="connsiteX27" fmla="*/ 5779055 w 12188952"/>
                  <a:gd name="connsiteY27" fmla="*/ 2765775 h 5842171"/>
                  <a:gd name="connsiteX28" fmla="*/ 5862875 w 12188952"/>
                  <a:gd name="connsiteY28" fmla="*/ 2855132 h 5842171"/>
                  <a:gd name="connsiteX29" fmla="*/ 5951102 w 12188952"/>
                  <a:gd name="connsiteY29" fmla="*/ 2940244 h 5842171"/>
                  <a:gd name="connsiteX30" fmla="*/ 6131964 w 12188952"/>
                  <a:gd name="connsiteY30" fmla="*/ 3093425 h 5842171"/>
                  <a:gd name="connsiteX31" fmla="*/ 6140779 w 12188952"/>
                  <a:gd name="connsiteY31" fmla="*/ 3152981 h 5842171"/>
                  <a:gd name="connsiteX32" fmla="*/ 6154027 w 12188952"/>
                  <a:gd name="connsiteY32" fmla="*/ 3221071 h 5842171"/>
                  <a:gd name="connsiteX33" fmla="*/ 6158435 w 12188952"/>
                  <a:gd name="connsiteY33" fmla="*/ 3233827 h 5842171"/>
                  <a:gd name="connsiteX34" fmla="*/ 6171683 w 12188952"/>
                  <a:gd name="connsiteY34" fmla="*/ 3233827 h 5842171"/>
                  <a:gd name="connsiteX35" fmla="*/ 6215784 w 12188952"/>
                  <a:gd name="connsiteY35" fmla="*/ 3238093 h 5842171"/>
                  <a:gd name="connsiteX36" fmla="*/ 6259911 w 12188952"/>
                  <a:gd name="connsiteY36" fmla="*/ 3242338 h 5842171"/>
                  <a:gd name="connsiteX37" fmla="*/ 6352545 w 12188952"/>
                  <a:gd name="connsiteY37" fmla="*/ 3250849 h 5842171"/>
                  <a:gd name="connsiteX38" fmla="*/ 6264318 w 12188952"/>
                  <a:gd name="connsiteY38" fmla="*/ 3221071 h 5842171"/>
                  <a:gd name="connsiteX39" fmla="*/ 6220191 w 12188952"/>
                  <a:gd name="connsiteY39" fmla="*/ 3208293 h 5842171"/>
                  <a:gd name="connsiteX40" fmla="*/ 6189313 w 12188952"/>
                  <a:gd name="connsiteY40" fmla="*/ 3199782 h 5842171"/>
                  <a:gd name="connsiteX41" fmla="*/ 6184906 w 12188952"/>
                  <a:gd name="connsiteY41" fmla="*/ 3140225 h 5842171"/>
                  <a:gd name="connsiteX42" fmla="*/ 6176091 w 12188952"/>
                  <a:gd name="connsiteY42" fmla="*/ 3072135 h 5842171"/>
                  <a:gd name="connsiteX43" fmla="*/ 6176091 w 12188952"/>
                  <a:gd name="connsiteY43" fmla="*/ 3063624 h 5842171"/>
                  <a:gd name="connsiteX44" fmla="*/ 6167276 w 12188952"/>
                  <a:gd name="connsiteY44" fmla="*/ 3059379 h 5842171"/>
                  <a:gd name="connsiteX45" fmla="*/ 5977573 w 12188952"/>
                  <a:gd name="connsiteY45" fmla="*/ 2901932 h 5842171"/>
                  <a:gd name="connsiteX46" fmla="*/ 5876097 w 12188952"/>
                  <a:gd name="connsiteY46" fmla="*/ 2829598 h 5842171"/>
                  <a:gd name="connsiteX47" fmla="*/ 5779055 w 12188952"/>
                  <a:gd name="connsiteY47" fmla="*/ 2765775 h 5842171"/>
                  <a:gd name="connsiteX48" fmla="*/ 3273524 w 12188952"/>
                  <a:gd name="connsiteY48" fmla="*/ 2540262 h 5842171"/>
                  <a:gd name="connsiteX49" fmla="*/ 3458615 w 12188952"/>
                  <a:gd name="connsiteY49" fmla="*/ 2719044 h 5842171"/>
                  <a:gd name="connsiteX50" fmla="*/ 3273524 w 12188952"/>
                  <a:gd name="connsiteY50" fmla="*/ 2897825 h 5842171"/>
                  <a:gd name="connsiteX51" fmla="*/ 3087868 w 12188952"/>
                  <a:gd name="connsiteY51" fmla="*/ 2719044 h 5842171"/>
                  <a:gd name="connsiteX52" fmla="*/ 3273524 w 12188952"/>
                  <a:gd name="connsiteY52" fmla="*/ 2540262 h 5842171"/>
                  <a:gd name="connsiteX53" fmla="*/ 8915428 w 12188952"/>
                  <a:gd name="connsiteY53" fmla="*/ 2361481 h 5842171"/>
                  <a:gd name="connsiteX54" fmla="*/ 8730337 w 12188952"/>
                  <a:gd name="connsiteY54" fmla="*/ 2540262 h 5842171"/>
                  <a:gd name="connsiteX55" fmla="*/ 8915428 w 12188952"/>
                  <a:gd name="connsiteY55" fmla="*/ 2719044 h 5842171"/>
                  <a:gd name="connsiteX56" fmla="*/ 9101084 w 12188952"/>
                  <a:gd name="connsiteY56" fmla="*/ 2540262 h 5842171"/>
                  <a:gd name="connsiteX57" fmla="*/ 8915428 w 12188952"/>
                  <a:gd name="connsiteY57" fmla="*/ 2361481 h 5842171"/>
                  <a:gd name="connsiteX58" fmla="*/ 0 w 12188952"/>
                  <a:gd name="connsiteY58" fmla="*/ 0 h 5842171"/>
                  <a:gd name="connsiteX59" fmla="*/ 0 w 12188952"/>
                  <a:gd name="connsiteY59" fmla="*/ 1319086 h 5842171"/>
                  <a:gd name="connsiteX60" fmla="*/ 0 w 12188952"/>
                  <a:gd name="connsiteY60" fmla="*/ 2710389 h 5842171"/>
                  <a:gd name="connsiteX61" fmla="*/ 0 w 12188952"/>
                  <a:gd name="connsiteY61" fmla="*/ 5842171 h 5842171"/>
                  <a:gd name="connsiteX62" fmla="*/ 12188952 w 12188952"/>
                  <a:gd name="connsiteY62" fmla="*/ 5842171 h 5842171"/>
                  <a:gd name="connsiteX63" fmla="*/ 12188952 w 12188952"/>
                  <a:gd name="connsiteY63" fmla="*/ 1612547 h 5842171"/>
                  <a:gd name="connsiteX64" fmla="*/ 8791846 w 12188952"/>
                  <a:gd name="connsiteY64" fmla="*/ 2970041 h 5842171"/>
                  <a:gd name="connsiteX65" fmla="*/ 8593775 w 12188952"/>
                  <a:gd name="connsiteY65" fmla="*/ 2910537 h 5842171"/>
                  <a:gd name="connsiteX66" fmla="*/ 8523238 w 12188952"/>
                  <a:gd name="connsiteY66" fmla="*/ 2731756 h 5842171"/>
                  <a:gd name="connsiteX67" fmla="*/ 8395141 w 12188952"/>
                  <a:gd name="connsiteY67" fmla="*/ 2791259 h 5842171"/>
                  <a:gd name="connsiteX68" fmla="*/ 8218514 w 12188952"/>
                  <a:gd name="connsiteY68" fmla="*/ 2731756 h 5842171"/>
                  <a:gd name="connsiteX69" fmla="*/ 7645181 w 12188952"/>
                  <a:gd name="connsiteY69" fmla="*/ 1531947 h 5842171"/>
                  <a:gd name="connsiteX70" fmla="*/ 7133359 w 12188952"/>
                  <a:gd name="connsiteY70" fmla="*/ 1740209 h 5842171"/>
                  <a:gd name="connsiteX71" fmla="*/ 7155367 w 12188952"/>
                  <a:gd name="connsiteY71" fmla="*/ 1748865 h 5842171"/>
                  <a:gd name="connsiteX72" fmla="*/ 7265970 w 12188952"/>
                  <a:gd name="connsiteY72" fmla="*/ 1812696 h 5842171"/>
                  <a:gd name="connsiteX73" fmla="*/ 7291928 w 12188952"/>
                  <a:gd name="connsiteY73" fmla="*/ 1834063 h 5842171"/>
                  <a:gd name="connsiteX74" fmla="*/ 7314500 w 12188952"/>
                  <a:gd name="connsiteY74" fmla="*/ 1855160 h 5842171"/>
                  <a:gd name="connsiteX75" fmla="*/ 7336508 w 12188952"/>
                  <a:gd name="connsiteY75" fmla="*/ 1880854 h 5842171"/>
                  <a:gd name="connsiteX76" fmla="*/ 7344972 w 12188952"/>
                  <a:gd name="connsiteY76" fmla="*/ 1893566 h 5842171"/>
                  <a:gd name="connsiteX77" fmla="*/ 7354001 w 12188952"/>
                  <a:gd name="connsiteY77" fmla="*/ 1906279 h 5842171"/>
                  <a:gd name="connsiteX78" fmla="*/ 7411560 w 12188952"/>
                  <a:gd name="connsiteY78" fmla="*/ 2021229 h 5842171"/>
                  <a:gd name="connsiteX79" fmla="*/ 7344972 w 12188952"/>
                  <a:gd name="connsiteY79" fmla="*/ 1914663 h 5842171"/>
                  <a:gd name="connsiteX80" fmla="*/ 7336508 w 12188952"/>
                  <a:gd name="connsiteY80" fmla="*/ 1901951 h 5842171"/>
                  <a:gd name="connsiteX81" fmla="*/ 7322965 w 12188952"/>
                  <a:gd name="connsiteY81" fmla="*/ 1889239 h 5842171"/>
                  <a:gd name="connsiteX82" fmla="*/ 7300957 w 12188952"/>
                  <a:gd name="connsiteY82" fmla="*/ 1867872 h 5842171"/>
                  <a:gd name="connsiteX83" fmla="*/ 7278949 w 12188952"/>
                  <a:gd name="connsiteY83" fmla="*/ 1850832 h 5842171"/>
                  <a:gd name="connsiteX84" fmla="*/ 7252426 w 12188952"/>
                  <a:gd name="connsiteY84" fmla="*/ 1833792 h 5842171"/>
                  <a:gd name="connsiteX85" fmla="*/ 7142388 w 12188952"/>
                  <a:gd name="connsiteY85" fmla="*/ 1782944 h 5842171"/>
                  <a:gd name="connsiteX86" fmla="*/ 7084829 w 12188952"/>
                  <a:gd name="connsiteY86" fmla="*/ 1765904 h 5842171"/>
                  <a:gd name="connsiteX87" fmla="*/ 7062821 w 12188952"/>
                  <a:gd name="connsiteY87" fmla="*/ 1761577 h 5842171"/>
                  <a:gd name="connsiteX88" fmla="*/ 7058306 w 12188952"/>
                  <a:gd name="connsiteY88" fmla="*/ 1761577 h 5842171"/>
                  <a:gd name="connsiteX89" fmla="*/ 7053792 w 12188952"/>
                  <a:gd name="connsiteY89" fmla="*/ 1761577 h 5842171"/>
                  <a:gd name="connsiteX90" fmla="*/ 6193794 w 12188952"/>
                  <a:gd name="connsiteY90" fmla="*/ 1655282 h 5842171"/>
                  <a:gd name="connsiteX91" fmla="*/ 5995159 w 12188952"/>
                  <a:gd name="connsiteY91" fmla="*/ 1761577 h 5842171"/>
                  <a:gd name="connsiteX92" fmla="*/ 5968637 w 12188952"/>
                  <a:gd name="connsiteY92" fmla="*/ 1778616 h 5842171"/>
                  <a:gd name="connsiteX93" fmla="*/ 5439320 w 12188952"/>
                  <a:gd name="connsiteY93" fmla="*/ 2106157 h 5842171"/>
                  <a:gd name="connsiteX94" fmla="*/ 5293729 w 12188952"/>
                  <a:gd name="connsiteY94" fmla="*/ 2582726 h 5842171"/>
                  <a:gd name="connsiteX95" fmla="*/ 5170147 w 12188952"/>
                  <a:gd name="connsiteY95" fmla="*/ 2918922 h 5842171"/>
                  <a:gd name="connsiteX96" fmla="*/ 5161682 w 12188952"/>
                  <a:gd name="connsiteY96" fmla="*/ 2944616 h 5842171"/>
                  <a:gd name="connsiteX97" fmla="*/ 5161682 w 12188952"/>
                  <a:gd name="connsiteY97" fmla="*/ 2948673 h 5842171"/>
                  <a:gd name="connsiteX98" fmla="*/ 5183690 w 12188952"/>
                  <a:gd name="connsiteY98" fmla="*/ 2978425 h 5842171"/>
                  <a:gd name="connsiteX99" fmla="*/ 5192155 w 12188952"/>
                  <a:gd name="connsiteY99" fmla="*/ 2982753 h 5842171"/>
                  <a:gd name="connsiteX100" fmla="*/ 5214163 w 12188952"/>
                  <a:gd name="connsiteY100" fmla="*/ 2995465 h 5842171"/>
                  <a:gd name="connsiteX101" fmla="*/ 5293729 w 12188952"/>
                  <a:gd name="connsiteY101" fmla="*/ 3012505 h 5842171"/>
                  <a:gd name="connsiteX102" fmla="*/ 5584910 w 12188952"/>
                  <a:gd name="connsiteY102" fmla="*/ 2880785 h 5842171"/>
                  <a:gd name="connsiteX103" fmla="*/ 5836590 w 12188952"/>
                  <a:gd name="connsiteY103" fmla="*/ 2621133 h 5842171"/>
                  <a:gd name="connsiteX104" fmla="*/ 6109712 w 12188952"/>
                  <a:gd name="connsiteY104" fmla="*/ 2370136 h 5842171"/>
                  <a:gd name="connsiteX105" fmla="*/ 6109712 w 12188952"/>
                  <a:gd name="connsiteY105" fmla="*/ 2327402 h 5842171"/>
                  <a:gd name="connsiteX106" fmla="*/ 6096733 w 12188952"/>
                  <a:gd name="connsiteY106" fmla="*/ 2238146 h 5842171"/>
                  <a:gd name="connsiteX107" fmla="*/ 6065697 w 12188952"/>
                  <a:gd name="connsiteY107" fmla="*/ 2152948 h 5842171"/>
                  <a:gd name="connsiteX108" fmla="*/ 6017167 w 12188952"/>
                  <a:gd name="connsiteY108" fmla="*/ 2076405 h 5842171"/>
                  <a:gd name="connsiteX109" fmla="*/ 6079240 w 12188952"/>
                  <a:gd name="connsiteY109" fmla="*/ 2148891 h 5842171"/>
                  <a:gd name="connsiteX110" fmla="*/ 6118741 w 12188952"/>
                  <a:gd name="connsiteY110" fmla="*/ 2233819 h 5842171"/>
                  <a:gd name="connsiteX111" fmla="*/ 6145264 w 12188952"/>
                  <a:gd name="connsiteY111" fmla="*/ 2323345 h 5842171"/>
                  <a:gd name="connsiteX112" fmla="*/ 6154292 w 12188952"/>
                  <a:gd name="connsiteY112" fmla="*/ 2365809 h 5842171"/>
                  <a:gd name="connsiteX113" fmla="*/ 6176300 w 12188952"/>
                  <a:gd name="connsiteY113" fmla="*/ 2370136 h 5842171"/>
                  <a:gd name="connsiteX114" fmla="*/ 6467480 w 12188952"/>
                  <a:gd name="connsiteY114" fmla="*/ 2587054 h 5842171"/>
                  <a:gd name="connsiteX115" fmla="*/ 6604042 w 12188952"/>
                  <a:gd name="connsiteY115" fmla="*/ 2702004 h 5842171"/>
                  <a:gd name="connsiteX116" fmla="*/ 6648058 w 12188952"/>
                  <a:gd name="connsiteY116" fmla="*/ 2723101 h 5842171"/>
                  <a:gd name="connsiteX117" fmla="*/ 6652572 w 12188952"/>
                  <a:gd name="connsiteY117" fmla="*/ 2723101 h 5842171"/>
                  <a:gd name="connsiteX118" fmla="*/ 6674580 w 12188952"/>
                  <a:gd name="connsiteY118" fmla="*/ 2723101 h 5842171"/>
                  <a:gd name="connsiteX119" fmla="*/ 6723110 w 12188952"/>
                  <a:gd name="connsiteY119" fmla="*/ 2719044 h 5842171"/>
                  <a:gd name="connsiteX120" fmla="*/ 6820170 w 12188952"/>
                  <a:gd name="connsiteY120" fmla="*/ 2710389 h 5842171"/>
                  <a:gd name="connsiteX121" fmla="*/ 7009776 w 12188952"/>
                  <a:gd name="connsiteY121" fmla="*/ 2676309 h 5842171"/>
                  <a:gd name="connsiteX122" fmla="*/ 7194868 w 12188952"/>
                  <a:gd name="connsiteY122" fmla="*/ 2616806 h 5842171"/>
                  <a:gd name="connsiteX123" fmla="*/ 7278949 w 12188952"/>
                  <a:gd name="connsiteY123" fmla="*/ 2565687 h 5842171"/>
                  <a:gd name="connsiteX124" fmla="*/ 7336508 w 12188952"/>
                  <a:gd name="connsiteY124" fmla="*/ 2489143 h 5842171"/>
                  <a:gd name="connsiteX125" fmla="*/ 7283463 w 12188952"/>
                  <a:gd name="connsiteY125" fmla="*/ 2570014 h 5842171"/>
                  <a:gd name="connsiteX126" fmla="*/ 7199382 w 12188952"/>
                  <a:gd name="connsiteY126" fmla="*/ 2625461 h 5842171"/>
                  <a:gd name="connsiteX127" fmla="*/ 7018805 w 12188952"/>
                  <a:gd name="connsiteY127" fmla="*/ 2697676 h 5842171"/>
                  <a:gd name="connsiteX128" fmla="*/ 6829199 w 12188952"/>
                  <a:gd name="connsiteY128" fmla="*/ 2744468 h 5842171"/>
                  <a:gd name="connsiteX129" fmla="*/ 6732139 w 12188952"/>
                  <a:gd name="connsiteY129" fmla="*/ 2761508 h 5842171"/>
                  <a:gd name="connsiteX130" fmla="*/ 6714081 w 12188952"/>
                  <a:gd name="connsiteY130" fmla="*/ 2761508 h 5842171"/>
                  <a:gd name="connsiteX131" fmla="*/ 6723110 w 12188952"/>
                  <a:gd name="connsiteY131" fmla="*/ 2765835 h 5842171"/>
                  <a:gd name="connsiteX132" fmla="*/ 6807191 w 12188952"/>
                  <a:gd name="connsiteY132" fmla="*/ 2803971 h 5842171"/>
                  <a:gd name="connsiteX133" fmla="*/ 6895223 w 12188952"/>
                  <a:gd name="connsiteY133" fmla="*/ 2829666 h 5842171"/>
                  <a:gd name="connsiteX134" fmla="*/ 6987768 w 12188952"/>
                  <a:gd name="connsiteY134" fmla="*/ 2833994 h 5842171"/>
                  <a:gd name="connsiteX135" fmla="*/ 6890708 w 12188952"/>
                  <a:gd name="connsiteY135" fmla="*/ 2850763 h 5842171"/>
                  <a:gd name="connsiteX136" fmla="*/ 6793648 w 12188952"/>
                  <a:gd name="connsiteY136" fmla="*/ 2850763 h 5842171"/>
                  <a:gd name="connsiteX137" fmla="*/ 6740604 w 12188952"/>
                  <a:gd name="connsiteY137" fmla="*/ 2842378 h 5842171"/>
                  <a:gd name="connsiteX138" fmla="*/ 6868700 w 12188952"/>
                  <a:gd name="connsiteY138" fmla="*/ 3038199 h 5842171"/>
                  <a:gd name="connsiteX139" fmla="*/ 6970275 w 12188952"/>
                  <a:gd name="connsiteY139" fmla="*/ 3131782 h 5842171"/>
                  <a:gd name="connsiteX140" fmla="*/ 7256941 w 12188952"/>
                  <a:gd name="connsiteY140" fmla="*/ 3467978 h 5842171"/>
                  <a:gd name="connsiteX141" fmla="*/ 7265970 w 12188952"/>
                  <a:gd name="connsiteY141" fmla="*/ 3467978 h 5842171"/>
                  <a:gd name="connsiteX142" fmla="*/ 7291928 w 12188952"/>
                  <a:gd name="connsiteY142" fmla="*/ 3467978 h 5842171"/>
                  <a:gd name="connsiteX143" fmla="*/ 7327479 w 12188952"/>
                  <a:gd name="connsiteY143" fmla="*/ 3480690 h 5842171"/>
                  <a:gd name="connsiteX144" fmla="*/ 7358516 w 12188952"/>
                  <a:gd name="connsiteY144" fmla="*/ 3501787 h 5842171"/>
                  <a:gd name="connsiteX145" fmla="*/ 7385037 w 12188952"/>
                  <a:gd name="connsiteY145" fmla="*/ 3531809 h 5842171"/>
                  <a:gd name="connsiteX146" fmla="*/ 7366980 w 12188952"/>
                  <a:gd name="connsiteY146" fmla="*/ 3493402 h 5842171"/>
                  <a:gd name="connsiteX147" fmla="*/ 7340458 w 12188952"/>
                  <a:gd name="connsiteY147" fmla="*/ 3463650 h 5842171"/>
                  <a:gd name="connsiteX148" fmla="*/ 7309986 w 12188952"/>
                  <a:gd name="connsiteY148" fmla="*/ 3442283 h 5842171"/>
                  <a:gd name="connsiteX149" fmla="*/ 7340458 w 12188952"/>
                  <a:gd name="connsiteY149" fmla="*/ 3429571 h 5842171"/>
                  <a:gd name="connsiteX150" fmla="*/ 7534578 w 12188952"/>
                  <a:gd name="connsiteY150" fmla="*/ 3340315 h 5842171"/>
                  <a:gd name="connsiteX151" fmla="*/ 7539093 w 12188952"/>
                  <a:gd name="connsiteY151" fmla="*/ 3382779 h 5842171"/>
                  <a:gd name="connsiteX152" fmla="*/ 7517085 w 12188952"/>
                  <a:gd name="connsiteY152" fmla="*/ 3736014 h 5842171"/>
                  <a:gd name="connsiteX153" fmla="*/ 7115865 w 12188952"/>
                  <a:gd name="connsiteY153" fmla="*/ 3855022 h 5842171"/>
                  <a:gd name="connsiteX154" fmla="*/ 7106836 w 12188952"/>
                  <a:gd name="connsiteY154" fmla="*/ 3855022 h 5842171"/>
                  <a:gd name="connsiteX155" fmla="*/ 6546483 w 12188952"/>
                  <a:gd name="connsiteY155" fmla="*/ 3280541 h 5842171"/>
                  <a:gd name="connsiteX156" fmla="*/ 6560026 w 12188952"/>
                  <a:gd name="connsiteY156" fmla="*/ 3276484 h 5842171"/>
                  <a:gd name="connsiteX157" fmla="*/ 6613071 w 12188952"/>
                  <a:gd name="connsiteY157" fmla="*/ 3246733 h 5842171"/>
                  <a:gd name="connsiteX158" fmla="*/ 6550998 w 12188952"/>
                  <a:gd name="connsiteY158" fmla="*/ 3242405 h 5842171"/>
                  <a:gd name="connsiteX159" fmla="*/ 6493439 w 12188952"/>
                  <a:gd name="connsiteY159" fmla="*/ 3250790 h 5842171"/>
                  <a:gd name="connsiteX160" fmla="*/ 6436444 w 12188952"/>
                  <a:gd name="connsiteY160" fmla="*/ 3267829 h 5842171"/>
                  <a:gd name="connsiteX161" fmla="*/ 6383400 w 12188952"/>
                  <a:gd name="connsiteY161" fmla="*/ 3293524 h 5842171"/>
                  <a:gd name="connsiteX162" fmla="*/ 6445473 w 12188952"/>
                  <a:gd name="connsiteY162" fmla="*/ 3297581 h 5842171"/>
                  <a:gd name="connsiteX163" fmla="*/ 6497953 w 12188952"/>
                  <a:gd name="connsiteY163" fmla="*/ 3289196 h 5842171"/>
                  <a:gd name="connsiteX164" fmla="*/ 7084829 w 12188952"/>
                  <a:gd name="connsiteY164" fmla="*/ 3889101 h 5842171"/>
                  <a:gd name="connsiteX165" fmla="*/ 6904252 w 12188952"/>
                  <a:gd name="connsiteY165" fmla="*/ 4080594 h 5842171"/>
                  <a:gd name="connsiteX166" fmla="*/ 6762611 w 12188952"/>
                  <a:gd name="connsiteY166" fmla="*/ 4097634 h 5842171"/>
                  <a:gd name="connsiteX167" fmla="*/ 6220316 w 12188952"/>
                  <a:gd name="connsiteY167" fmla="*/ 3616737 h 5842171"/>
                  <a:gd name="connsiteX168" fmla="*/ 6259817 w 12188952"/>
                  <a:gd name="connsiteY168" fmla="*/ 3604025 h 5842171"/>
                  <a:gd name="connsiteX169" fmla="*/ 6312862 w 12188952"/>
                  <a:gd name="connsiteY169" fmla="*/ 3574273 h 5842171"/>
                  <a:gd name="connsiteX170" fmla="*/ 6251353 w 12188952"/>
                  <a:gd name="connsiteY170" fmla="*/ 3569945 h 5842171"/>
                  <a:gd name="connsiteX171" fmla="*/ 6193794 w 12188952"/>
                  <a:gd name="connsiteY171" fmla="*/ 3578600 h 5842171"/>
                  <a:gd name="connsiteX172" fmla="*/ 6136235 w 12188952"/>
                  <a:gd name="connsiteY172" fmla="*/ 3595640 h 5842171"/>
                  <a:gd name="connsiteX173" fmla="*/ 6083190 w 12188952"/>
                  <a:gd name="connsiteY173" fmla="*/ 3621064 h 5842171"/>
                  <a:gd name="connsiteX174" fmla="*/ 6145264 w 12188952"/>
                  <a:gd name="connsiteY174" fmla="*/ 3625392 h 5842171"/>
                  <a:gd name="connsiteX175" fmla="*/ 6167271 w 12188952"/>
                  <a:gd name="connsiteY175" fmla="*/ 3621064 h 5842171"/>
                  <a:gd name="connsiteX176" fmla="*/ 6727625 w 12188952"/>
                  <a:gd name="connsiteY176" fmla="*/ 4114674 h 5842171"/>
                  <a:gd name="connsiteX177" fmla="*/ 6497953 w 12188952"/>
                  <a:gd name="connsiteY177" fmla="*/ 4331591 h 5842171"/>
                  <a:gd name="connsiteX178" fmla="*/ 6330355 w 12188952"/>
                  <a:gd name="connsiteY178" fmla="*/ 4301840 h 5842171"/>
                  <a:gd name="connsiteX179" fmla="*/ 6321890 w 12188952"/>
                  <a:gd name="connsiteY179" fmla="*/ 4297512 h 5842171"/>
                  <a:gd name="connsiteX180" fmla="*/ 5871576 w 12188952"/>
                  <a:gd name="connsiteY180" fmla="*/ 3842309 h 5842171"/>
                  <a:gd name="connsiteX181" fmla="*/ 5788060 w 12188952"/>
                  <a:gd name="connsiteY181" fmla="*/ 3778478 h 5842171"/>
                  <a:gd name="connsiteX182" fmla="*/ 5708493 w 12188952"/>
                  <a:gd name="connsiteY182" fmla="*/ 3782806 h 5842171"/>
                  <a:gd name="connsiteX183" fmla="*/ 5730501 w 12188952"/>
                  <a:gd name="connsiteY183" fmla="*/ 3744399 h 5842171"/>
                  <a:gd name="connsiteX184" fmla="*/ 5620461 w 12188952"/>
                  <a:gd name="connsiteY184" fmla="*/ 3472035 h 5842171"/>
                  <a:gd name="connsiteX185" fmla="*/ 5390789 w 12188952"/>
                  <a:gd name="connsiteY185" fmla="*/ 3433898 h 5842171"/>
                  <a:gd name="connsiteX186" fmla="*/ 5399818 w 12188952"/>
                  <a:gd name="connsiteY186" fmla="*/ 3408204 h 5842171"/>
                  <a:gd name="connsiteX187" fmla="*/ 5302758 w 12188952"/>
                  <a:gd name="connsiteY187" fmla="*/ 3203998 h 5842171"/>
                  <a:gd name="connsiteX188" fmla="*/ 5086630 w 12188952"/>
                  <a:gd name="connsiteY188" fmla="*/ 3135840 h 5842171"/>
                  <a:gd name="connsiteX189" fmla="*/ 4856959 w 12188952"/>
                  <a:gd name="connsiteY189" fmla="*/ 3327333 h 5842171"/>
                  <a:gd name="connsiteX190" fmla="*/ 4861473 w 12188952"/>
                  <a:gd name="connsiteY190" fmla="*/ 3208326 h 5842171"/>
                  <a:gd name="connsiteX191" fmla="*/ 4592300 w 12188952"/>
                  <a:gd name="connsiteY191" fmla="*/ 3055239 h 5842171"/>
                  <a:gd name="connsiteX192" fmla="*/ 4557313 w 12188952"/>
                  <a:gd name="connsiteY192" fmla="*/ 3059296 h 5842171"/>
                  <a:gd name="connsiteX193" fmla="*/ 4327642 w 12188952"/>
                  <a:gd name="connsiteY193" fmla="*/ 3284869 h 5842171"/>
                  <a:gd name="connsiteX194" fmla="*/ 3996960 w 12188952"/>
                  <a:gd name="connsiteY194" fmla="*/ 3055239 h 5842171"/>
                  <a:gd name="connsiteX195" fmla="*/ 4543770 w 12188952"/>
                  <a:gd name="connsiteY195" fmla="*/ 1906279 h 5842171"/>
                  <a:gd name="connsiteX196" fmla="*/ 4482261 w 12188952"/>
                  <a:gd name="connsiteY196" fmla="*/ 1740209 h 5842171"/>
                  <a:gd name="connsiteX197" fmla="*/ 4248075 w 12188952"/>
                  <a:gd name="connsiteY197" fmla="*/ 1633914 h 5842171"/>
                  <a:gd name="connsiteX198" fmla="*/ 4305634 w 12188952"/>
                  <a:gd name="connsiteY198" fmla="*/ 1493540 h 5842171"/>
                  <a:gd name="connsiteX199" fmla="*/ 4226067 w 12188952"/>
                  <a:gd name="connsiteY199" fmla="*/ 1327471 h 5842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</a:cxnLst>
                <a:rect l="l" t="t" r="r" b="b"/>
                <a:pathLst>
                  <a:path w="12188952" h="5842171">
                    <a:moveTo>
                      <a:pt x="5911642" y="3974299"/>
                    </a:moveTo>
                    <a:lnTo>
                      <a:pt x="6255302" y="4323207"/>
                    </a:lnTo>
                    <a:cubicBezTo>
                      <a:pt x="6246838" y="4331591"/>
                      <a:pt x="6215801" y="4352959"/>
                      <a:pt x="6162757" y="4399750"/>
                    </a:cubicBezTo>
                    <a:cubicBezTo>
                      <a:pt x="6079240" y="4467909"/>
                      <a:pt x="5929135" y="4421117"/>
                      <a:pt x="5854083" y="4395423"/>
                    </a:cubicBezTo>
                    <a:lnTo>
                      <a:pt x="5832075" y="4391095"/>
                    </a:lnTo>
                    <a:cubicBezTo>
                      <a:pt x="5924621" y="4225296"/>
                      <a:pt x="5915592" y="3987011"/>
                      <a:pt x="5911642" y="3974299"/>
                    </a:cubicBezTo>
                    <a:close/>
                    <a:moveTo>
                      <a:pt x="5470247" y="3063624"/>
                    </a:moveTo>
                    <a:cubicBezTo>
                      <a:pt x="5496721" y="3093415"/>
                      <a:pt x="5527590" y="3123205"/>
                      <a:pt x="5554064" y="3152973"/>
                    </a:cubicBezTo>
                    <a:cubicBezTo>
                      <a:pt x="5589353" y="3187022"/>
                      <a:pt x="5620222" y="3212554"/>
                      <a:pt x="5651117" y="3242344"/>
                    </a:cubicBezTo>
                    <a:cubicBezTo>
                      <a:pt x="5708459" y="3293407"/>
                      <a:pt x="5770223" y="3344470"/>
                      <a:pt x="5831987" y="3395532"/>
                    </a:cubicBezTo>
                    <a:cubicBezTo>
                      <a:pt x="5836408" y="3416805"/>
                      <a:pt x="5840802" y="3433818"/>
                      <a:pt x="5840802" y="3455091"/>
                    </a:cubicBezTo>
                    <a:cubicBezTo>
                      <a:pt x="5845224" y="3476363"/>
                      <a:pt x="5849645" y="3501894"/>
                      <a:pt x="5854039" y="3523167"/>
                    </a:cubicBezTo>
                    <a:lnTo>
                      <a:pt x="5858461" y="3535944"/>
                    </a:lnTo>
                    <a:lnTo>
                      <a:pt x="5871698" y="3535944"/>
                    </a:lnTo>
                    <a:cubicBezTo>
                      <a:pt x="5884935" y="3540203"/>
                      <a:pt x="5902566" y="3540203"/>
                      <a:pt x="5915803" y="3540203"/>
                    </a:cubicBezTo>
                    <a:cubicBezTo>
                      <a:pt x="5929040" y="3540203"/>
                      <a:pt x="5946698" y="3544439"/>
                      <a:pt x="5959935" y="3544439"/>
                    </a:cubicBezTo>
                    <a:cubicBezTo>
                      <a:pt x="5990804" y="3548698"/>
                      <a:pt x="6021699" y="3548698"/>
                      <a:pt x="6052567" y="3552957"/>
                    </a:cubicBezTo>
                    <a:cubicBezTo>
                      <a:pt x="6021699" y="3544439"/>
                      <a:pt x="5995225" y="3531685"/>
                      <a:pt x="5964330" y="3523167"/>
                    </a:cubicBezTo>
                    <a:cubicBezTo>
                      <a:pt x="5951093" y="3518908"/>
                      <a:pt x="5933461" y="3514671"/>
                      <a:pt x="5920224" y="3510412"/>
                    </a:cubicBezTo>
                    <a:cubicBezTo>
                      <a:pt x="5911409" y="3506153"/>
                      <a:pt x="5898172" y="3506153"/>
                      <a:pt x="5889356" y="3501894"/>
                    </a:cubicBezTo>
                    <a:cubicBezTo>
                      <a:pt x="5889356" y="3480622"/>
                      <a:pt x="5884935" y="3463609"/>
                      <a:pt x="5884935" y="3442314"/>
                    </a:cubicBezTo>
                    <a:cubicBezTo>
                      <a:pt x="5880513" y="3421041"/>
                      <a:pt x="5880513" y="3395510"/>
                      <a:pt x="5876119" y="3374237"/>
                    </a:cubicBezTo>
                    <a:lnTo>
                      <a:pt x="5876119" y="3365742"/>
                    </a:lnTo>
                    <a:lnTo>
                      <a:pt x="5867303" y="3361483"/>
                    </a:lnTo>
                    <a:cubicBezTo>
                      <a:pt x="5805540" y="3306161"/>
                      <a:pt x="5739355" y="3255098"/>
                      <a:pt x="5677591" y="3204036"/>
                    </a:cubicBezTo>
                    <a:cubicBezTo>
                      <a:pt x="5646723" y="3178504"/>
                      <a:pt x="5611433" y="3152973"/>
                      <a:pt x="5576116" y="3131700"/>
                    </a:cubicBezTo>
                    <a:cubicBezTo>
                      <a:pt x="5540827" y="3106169"/>
                      <a:pt x="5509958" y="3084897"/>
                      <a:pt x="5470247" y="3063624"/>
                    </a:cubicBezTo>
                    <a:close/>
                    <a:moveTo>
                      <a:pt x="5779055" y="2765775"/>
                    </a:moveTo>
                    <a:cubicBezTo>
                      <a:pt x="5809933" y="2804064"/>
                      <a:pt x="5836404" y="2829598"/>
                      <a:pt x="5862875" y="2855132"/>
                    </a:cubicBezTo>
                    <a:cubicBezTo>
                      <a:pt x="5893753" y="2884910"/>
                      <a:pt x="5924631" y="2910444"/>
                      <a:pt x="5951102" y="2940244"/>
                    </a:cubicBezTo>
                    <a:cubicBezTo>
                      <a:pt x="6008451" y="2991289"/>
                      <a:pt x="6070208" y="3042357"/>
                      <a:pt x="6131964" y="3093425"/>
                    </a:cubicBezTo>
                    <a:cubicBezTo>
                      <a:pt x="6136371" y="3114692"/>
                      <a:pt x="6140779" y="3131714"/>
                      <a:pt x="6140779" y="3152981"/>
                    </a:cubicBezTo>
                    <a:cubicBezTo>
                      <a:pt x="6145213" y="3174270"/>
                      <a:pt x="6149620" y="3199782"/>
                      <a:pt x="6154027" y="3221071"/>
                    </a:cubicBezTo>
                    <a:lnTo>
                      <a:pt x="6158435" y="3233827"/>
                    </a:lnTo>
                    <a:lnTo>
                      <a:pt x="6171683" y="3233827"/>
                    </a:lnTo>
                    <a:cubicBezTo>
                      <a:pt x="6184906" y="3238093"/>
                      <a:pt x="6202562" y="3238093"/>
                      <a:pt x="6215784" y="3238093"/>
                    </a:cubicBezTo>
                    <a:cubicBezTo>
                      <a:pt x="6229032" y="3238093"/>
                      <a:pt x="6246662" y="3242338"/>
                      <a:pt x="6259911" y="3242338"/>
                    </a:cubicBezTo>
                    <a:cubicBezTo>
                      <a:pt x="6290789" y="3246582"/>
                      <a:pt x="6321667" y="3246582"/>
                      <a:pt x="6352545" y="3250849"/>
                    </a:cubicBezTo>
                    <a:cubicBezTo>
                      <a:pt x="6321667" y="3242338"/>
                      <a:pt x="6295196" y="3229582"/>
                      <a:pt x="6264318" y="3221071"/>
                    </a:cubicBezTo>
                    <a:cubicBezTo>
                      <a:pt x="6251069" y="3216804"/>
                      <a:pt x="6233440" y="3212560"/>
                      <a:pt x="6220191" y="3208293"/>
                    </a:cubicBezTo>
                    <a:cubicBezTo>
                      <a:pt x="6211376" y="3204048"/>
                      <a:pt x="6198154" y="3204048"/>
                      <a:pt x="6189313" y="3199782"/>
                    </a:cubicBezTo>
                    <a:cubicBezTo>
                      <a:pt x="6189313" y="3178515"/>
                      <a:pt x="6184906" y="3161492"/>
                      <a:pt x="6184906" y="3140225"/>
                    </a:cubicBezTo>
                    <a:cubicBezTo>
                      <a:pt x="6180498" y="3118936"/>
                      <a:pt x="6180498" y="3093402"/>
                      <a:pt x="6176091" y="3072135"/>
                    </a:cubicBezTo>
                    <a:lnTo>
                      <a:pt x="6176091" y="3063624"/>
                    </a:lnTo>
                    <a:lnTo>
                      <a:pt x="6167276" y="3059379"/>
                    </a:lnTo>
                    <a:cubicBezTo>
                      <a:pt x="6105520" y="3004067"/>
                      <a:pt x="6039329" y="2953000"/>
                      <a:pt x="5977573" y="2901932"/>
                    </a:cubicBezTo>
                    <a:cubicBezTo>
                      <a:pt x="5946695" y="2876399"/>
                      <a:pt x="5911409" y="2850865"/>
                      <a:pt x="5876097" y="2829598"/>
                    </a:cubicBezTo>
                    <a:cubicBezTo>
                      <a:pt x="5845219" y="2808331"/>
                      <a:pt x="5814341" y="2787042"/>
                      <a:pt x="5779055" y="2765775"/>
                    </a:cubicBezTo>
                    <a:close/>
                    <a:moveTo>
                      <a:pt x="3273524" y="2540262"/>
                    </a:moveTo>
                    <a:cubicBezTo>
                      <a:pt x="3374534" y="2540262"/>
                      <a:pt x="3458615" y="2621133"/>
                      <a:pt x="3458615" y="2719044"/>
                    </a:cubicBezTo>
                    <a:cubicBezTo>
                      <a:pt x="3458615" y="2816954"/>
                      <a:pt x="3374534" y="2897825"/>
                      <a:pt x="3273524" y="2897825"/>
                    </a:cubicBezTo>
                    <a:cubicBezTo>
                      <a:pt x="3171949" y="2897825"/>
                      <a:pt x="3087868" y="2816954"/>
                      <a:pt x="3087868" y="2719044"/>
                    </a:cubicBezTo>
                    <a:cubicBezTo>
                      <a:pt x="3087868" y="2621133"/>
                      <a:pt x="3171949" y="2540262"/>
                      <a:pt x="3273524" y="2540262"/>
                    </a:cubicBezTo>
                    <a:close/>
                    <a:moveTo>
                      <a:pt x="8915428" y="2361481"/>
                    </a:moveTo>
                    <a:cubicBezTo>
                      <a:pt x="8814418" y="2361481"/>
                      <a:pt x="8730337" y="2442352"/>
                      <a:pt x="8730337" y="2540262"/>
                    </a:cubicBezTo>
                    <a:cubicBezTo>
                      <a:pt x="8730337" y="2638173"/>
                      <a:pt x="8814418" y="2719044"/>
                      <a:pt x="8915428" y="2719044"/>
                    </a:cubicBezTo>
                    <a:cubicBezTo>
                      <a:pt x="9017003" y="2719044"/>
                      <a:pt x="9101084" y="2638173"/>
                      <a:pt x="9101084" y="2540262"/>
                    </a:cubicBezTo>
                    <a:cubicBezTo>
                      <a:pt x="9101084" y="2442352"/>
                      <a:pt x="9017003" y="2361481"/>
                      <a:pt x="8915428" y="2361481"/>
                    </a:cubicBezTo>
                    <a:close/>
                    <a:moveTo>
                      <a:pt x="0" y="0"/>
                    </a:moveTo>
                    <a:lnTo>
                      <a:pt x="0" y="1319086"/>
                    </a:lnTo>
                    <a:lnTo>
                      <a:pt x="0" y="2710389"/>
                    </a:lnTo>
                    <a:lnTo>
                      <a:pt x="0" y="5842171"/>
                    </a:lnTo>
                    <a:lnTo>
                      <a:pt x="12188952" y="5842171"/>
                    </a:lnTo>
                    <a:lnTo>
                      <a:pt x="12188952" y="1612547"/>
                    </a:lnTo>
                    <a:lnTo>
                      <a:pt x="8791846" y="2970041"/>
                    </a:lnTo>
                    <a:cubicBezTo>
                      <a:pt x="8694786" y="3008447"/>
                      <a:pt x="8620298" y="2978425"/>
                      <a:pt x="8593775" y="2910537"/>
                    </a:cubicBezTo>
                    <a:lnTo>
                      <a:pt x="8523238" y="2731756"/>
                    </a:lnTo>
                    <a:lnTo>
                      <a:pt x="8395141" y="2791259"/>
                    </a:lnTo>
                    <a:cubicBezTo>
                      <a:pt x="8329117" y="2821011"/>
                      <a:pt x="8249550" y="2795587"/>
                      <a:pt x="8218514" y="2731756"/>
                    </a:cubicBezTo>
                    <a:lnTo>
                      <a:pt x="7645181" y="1531947"/>
                    </a:lnTo>
                    <a:cubicBezTo>
                      <a:pt x="7473069" y="1612547"/>
                      <a:pt x="7230419" y="1706401"/>
                      <a:pt x="7133359" y="1740209"/>
                    </a:cubicBezTo>
                    <a:cubicBezTo>
                      <a:pt x="7142388" y="1744537"/>
                      <a:pt x="7150852" y="1744537"/>
                      <a:pt x="7155367" y="1748865"/>
                    </a:cubicBezTo>
                    <a:cubicBezTo>
                      <a:pt x="7195432" y="1765904"/>
                      <a:pt x="7234933" y="1787001"/>
                      <a:pt x="7265970" y="1812696"/>
                    </a:cubicBezTo>
                    <a:cubicBezTo>
                      <a:pt x="7274435" y="1821080"/>
                      <a:pt x="7283463" y="1825408"/>
                      <a:pt x="7291928" y="1834063"/>
                    </a:cubicBezTo>
                    <a:lnTo>
                      <a:pt x="7314500" y="1855160"/>
                    </a:lnTo>
                    <a:cubicBezTo>
                      <a:pt x="7322965" y="1863815"/>
                      <a:pt x="7327479" y="1872199"/>
                      <a:pt x="7336508" y="1880854"/>
                    </a:cubicBezTo>
                    <a:lnTo>
                      <a:pt x="7344972" y="1893566"/>
                    </a:lnTo>
                    <a:lnTo>
                      <a:pt x="7354001" y="1906279"/>
                    </a:lnTo>
                    <a:cubicBezTo>
                      <a:pt x="7380524" y="1940358"/>
                      <a:pt x="7398017" y="1978494"/>
                      <a:pt x="7411560" y="2021229"/>
                    </a:cubicBezTo>
                    <a:cubicBezTo>
                      <a:pt x="7393503" y="1982822"/>
                      <a:pt x="7371495" y="1944685"/>
                      <a:pt x="7344972" y="1914663"/>
                    </a:cubicBezTo>
                    <a:lnTo>
                      <a:pt x="7336508" y="1901951"/>
                    </a:lnTo>
                    <a:lnTo>
                      <a:pt x="7322965" y="1889239"/>
                    </a:lnTo>
                    <a:cubicBezTo>
                      <a:pt x="7314500" y="1880854"/>
                      <a:pt x="7309986" y="1876527"/>
                      <a:pt x="7300957" y="1867872"/>
                    </a:cubicBezTo>
                    <a:lnTo>
                      <a:pt x="7278949" y="1850832"/>
                    </a:lnTo>
                    <a:cubicBezTo>
                      <a:pt x="7269920" y="1842447"/>
                      <a:pt x="7261455" y="1838120"/>
                      <a:pt x="7252426" y="1833792"/>
                    </a:cubicBezTo>
                    <a:cubicBezTo>
                      <a:pt x="7217440" y="1812696"/>
                      <a:pt x="7181888" y="1795656"/>
                      <a:pt x="7142388" y="1782944"/>
                    </a:cubicBezTo>
                    <a:cubicBezTo>
                      <a:pt x="7124330" y="1778616"/>
                      <a:pt x="7102322" y="1770232"/>
                      <a:pt x="7084829" y="1765904"/>
                    </a:cubicBezTo>
                    <a:cubicBezTo>
                      <a:pt x="7075800" y="1765904"/>
                      <a:pt x="7071849" y="1761577"/>
                      <a:pt x="7062821" y="1761577"/>
                    </a:cubicBezTo>
                    <a:lnTo>
                      <a:pt x="7058306" y="1761577"/>
                    </a:lnTo>
                    <a:lnTo>
                      <a:pt x="7053792" y="1761577"/>
                    </a:lnTo>
                    <a:cubicBezTo>
                      <a:pt x="6824685" y="1727497"/>
                      <a:pt x="6251353" y="1655282"/>
                      <a:pt x="6193794" y="1655282"/>
                    </a:cubicBezTo>
                    <a:cubicBezTo>
                      <a:pt x="6176300" y="1659339"/>
                      <a:pt x="6096733" y="1702073"/>
                      <a:pt x="5995159" y="1761577"/>
                    </a:cubicBezTo>
                    <a:lnTo>
                      <a:pt x="5968637" y="1778616"/>
                    </a:lnTo>
                    <a:cubicBezTo>
                      <a:pt x="5810067" y="1872199"/>
                      <a:pt x="5598454" y="2008517"/>
                      <a:pt x="5439320" y="2106157"/>
                    </a:cubicBezTo>
                    <a:cubicBezTo>
                      <a:pt x="5426341" y="2152948"/>
                      <a:pt x="5359753" y="2370136"/>
                      <a:pt x="5293729" y="2582726"/>
                    </a:cubicBezTo>
                    <a:cubicBezTo>
                      <a:pt x="5293729" y="2582726"/>
                      <a:pt x="5196669" y="2859418"/>
                      <a:pt x="5170147" y="2918922"/>
                    </a:cubicBezTo>
                    <a:cubicBezTo>
                      <a:pt x="5165632" y="2927577"/>
                      <a:pt x="5161682" y="2935961"/>
                      <a:pt x="5161682" y="2944616"/>
                    </a:cubicBezTo>
                    <a:cubicBezTo>
                      <a:pt x="5161682" y="2948673"/>
                      <a:pt x="5161682" y="2948673"/>
                      <a:pt x="5161682" y="2948673"/>
                    </a:cubicBezTo>
                    <a:cubicBezTo>
                      <a:pt x="5165632" y="2961386"/>
                      <a:pt x="5174661" y="2970041"/>
                      <a:pt x="5183690" y="2978425"/>
                    </a:cubicBezTo>
                    <a:cubicBezTo>
                      <a:pt x="5183690" y="2978425"/>
                      <a:pt x="5187640" y="2978425"/>
                      <a:pt x="5192155" y="2982753"/>
                    </a:cubicBezTo>
                    <a:cubicBezTo>
                      <a:pt x="5201184" y="2987080"/>
                      <a:pt x="5205698" y="2991408"/>
                      <a:pt x="5214163" y="2995465"/>
                    </a:cubicBezTo>
                    <a:cubicBezTo>
                      <a:pt x="5232220" y="3004120"/>
                      <a:pt x="5258743" y="3008447"/>
                      <a:pt x="5293729" y="3012505"/>
                    </a:cubicBezTo>
                    <a:cubicBezTo>
                      <a:pt x="5395304" y="2991408"/>
                      <a:pt x="5527351" y="2935961"/>
                      <a:pt x="5584910" y="2880785"/>
                    </a:cubicBezTo>
                    <a:cubicBezTo>
                      <a:pt x="5672942" y="2799915"/>
                      <a:pt x="5761537" y="2706331"/>
                      <a:pt x="5836590" y="2621133"/>
                    </a:cubicBezTo>
                    <a:cubicBezTo>
                      <a:pt x="5946629" y="2493471"/>
                      <a:pt x="6034660" y="2395560"/>
                      <a:pt x="6109712" y="2370136"/>
                    </a:cubicBezTo>
                    <a:cubicBezTo>
                      <a:pt x="6109712" y="2357424"/>
                      <a:pt x="6109712" y="2340385"/>
                      <a:pt x="6109712" y="2327402"/>
                    </a:cubicBezTo>
                    <a:cubicBezTo>
                      <a:pt x="6105762" y="2297650"/>
                      <a:pt x="6101248" y="2267898"/>
                      <a:pt x="6096733" y="2238146"/>
                    </a:cubicBezTo>
                    <a:cubicBezTo>
                      <a:pt x="6087705" y="2208395"/>
                      <a:pt x="6079240" y="2178643"/>
                      <a:pt x="6065697" y="2152948"/>
                    </a:cubicBezTo>
                    <a:cubicBezTo>
                      <a:pt x="6052718" y="2127524"/>
                      <a:pt x="6034660" y="2097772"/>
                      <a:pt x="6017167" y="2076405"/>
                    </a:cubicBezTo>
                    <a:cubicBezTo>
                      <a:pt x="6039175" y="2097772"/>
                      <a:pt x="6061182" y="2119139"/>
                      <a:pt x="6079240" y="2148891"/>
                    </a:cubicBezTo>
                    <a:cubicBezTo>
                      <a:pt x="6096733" y="2174315"/>
                      <a:pt x="6109712" y="2204067"/>
                      <a:pt x="6118741" y="2233819"/>
                    </a:cubicBezTo>
                    <a:cubicBezTo>
                      <a:pt x="6131720" y="2263571"/>
                      <a:pt x="6140749" y="2293593"/>
                      <a:pt x="6145264" y="2323345"/>
                    </a:cubicBezTo>
                    <a:cubicBezTo>
                      <a:pt x="6149778" y="2336057"/>
                      <a:pt x="6149778" y="2353097"/>
                      <a:pt x="6154292" y="2365809"/>
                    </a:cubicBezTo>
                    <a:cubicBezTo>
                      <a:pt x="6162757" y="2365809"/>
                      <a:pt x="6167271" y="2365809"/>
                      <a:pt x="6176300" y="2370136"/>
                    </a:cubicBezTo>
                    <a:cubicBezTo>
                      <a:pt x="6242324" y="2391233"/>
                      <a:pt x="6361392" y="2497798"/>
                      <a:pt x="6467480" y="2587054"/>
                    </a:cubicBezTo>
                    <a:cubicBezTo>
                      <a:pt x="6516011" y="2629518"/>
                      <a:pt x="6568491" y="2676309"/>
                      <a:pt x="6604042" y="2702004"/>
                    </a:cubicBezTo>
                    <a:cubicBezTo>
                      <a:pt x="6621536" y="2710389"/>
                      <a:pt x="6648058" y="2719044"/>
                      <a:pt x="6648058" y="2723101"/>
                    </a:cubicBezTo>
                    <a:cubicBezTo>
                      <a:pt x="6648058" y="2723101"/>
                      <a:pt x="6652572" y="2723101"/>
                      <a:pt x="6652572" y="2723101"/>
                    </a:cubicBezTo>
                    <a:cubicBezTo>
                      <a:pt x="6661601" y="2723101"/>
                      <a:pt x="6665551" y="2723101"/>
                      <a:pt x="6674580" y="2723101"/>
                    </a:cubicBezTo>
                    <a:cubicBezTo>
                      <a:pt x="6692073" y="2723101"/>
                      <a:pt x="6705617" y="2723101"/>
                      <a:pt x="6723110" y="2719044"/>
                    </a:cubicBezTo>
                    <a:cubicBezTo>
                      <a:pt x="6754147" y="2714716"/>
                      <a:pt x="6789133" y="2714716"/>
                      <a:pt x="6820170" y="2710389"/>
                    </a:cubicBezTo>
                    <a:cubicBezTo>
                      <a:pt x="6881679" y="2702004"/>
                      <a:pt x="6948267" y="2689292"/>
                      <a:pt x="7009776" y="2676309"/>
                    </a:cubicBezTo>
                    <a:cubicBezTo>
                      <a:pt x="7071849" y="2659540"/>
                      <a:pt x="7133359" y="2642500"/>
                      <a:pt x="7194868" y="2616806"/>
                    </a:cubicBezTo>
                    <a:cubicBezTo>
                      <a:pt x="7225904" y="2604094"/>
                      <a:pt x="7252426" y="2587054"/>
                      <a:pt x="7278949" y="2565687"/>
                    </a:cubicBezTo>
                    <a:cubicBezTo>
                      <a:pt x="7305471" y="2544590"/>
                      <a:pt x="7327479" y="2518895"/>
                      <a:pt x="7336508" y="2489143"/>
                    </a:cubicBezTo>
                    <a:cubicBezTo>
                      <a:pt x="7331993" y="2523223"/>
                      <a:pt x="7309986" y="2548647"/>
                      <a:pt x="7283463" y="2570014"/>
                    </a:cubicBezTo>
                    <a:cubicBezTo>
                      <a:pt x="7256941" y="2591381"/>
                      <a:pt x="7230419" y="2608421"/>
                      <a:pt x="7199382" y="2625461"/>
                    </a:cubicBezTo>
                    <a:cubicBezTo>
                      <a:pt x="7142388" y="2655213"/>
                      <a:pt x="7080314" y="2680637"/>
                      <a:pt x="7018805" y="2697676"/>
                    </a:cubicBezTo>
                    <a:cubicBezTo>
                      <a:pt x="6956732" y="2714716"/>
                      <a:pt x="6890708" y="2731756"/>
                      <a:pt x="6829199" y="2744468"/>
                    </a:cubicBezTo>
                    <a:cubicBezTo>
                      <a:pt x="6798162" y="2748795"/>
                      <a:pt x="6762611" y="2757180"/>
                      <a:pt x="6732139" y="2761508"/>
                    </a:cubicBezTo>
                    <a:cubicBezTo>
                      <a:pt x="6727625" y="2761508"/>
                      <a:pt x="6718595" y="2761508"/>
                      <a:pt x="6714081" y="2761508"/>
                    </a:cubicBezTo>
                    <a:cubicBezTo>
                      <a:pt x="6718595" y="2761508"/>
                      <a:pt x="6718595" y="2765835"/>
                      <a:pt x="6723110" y="2765835"/>
                    </a:cubicBezTo>
                    <a:cubicBezTo>
                      <a:pt x="6749632" y="2782875"/>
                      <a:pt x="6776155" y="2795587"/>
                      <a:pt x="6807191" y="2803971"/>
                    </a:cubicBezTo>
                    <a:cubicBezTo>
                      <a:pt x="6837664" y="2816954"/>
                      <a:pt x="6864186" y="2821011"/>
                      <a:pt x="6895223" y="2829666"/>
                    </a:cubicBezTo>
                    <a:cubicBezTo>
                      <a:pt x="6926259" y="2833994"/>
                      <a:pt x="6956732" y="2838051"/>
                      <a:pt x="6987768" y="2833994"/>
                    </a:cubicBezTo>
                    <a:cubicBezTo>
                      <a:pt x="6956732" y="2842378"/>
                      <a:pt x="6926259" y="2850763"/>
                      <a:pt x="6890708" y="2850763"/>
                    </a:cubicBezTo>
                    <a:cubicBezTo>
                      <a:pt x="6859672" y="2855090"/>
                      <a:pt x="6824685" y="2850763"/>
                      <a:pt x="6793648" y="2850763"/>
                    </a:cubicBezTo>
                    <a:cubicBezTo>
                      <a:pt x="6776155" y="2850763"/>
                      <a:pt x="6758661" y="2846706"/>
                      <a:pt x="6740604" y="2842378"/>
                    </a:cubicBezTo>
                    <a:lnTo>
                      <a:pt x="6868700" y="3038199"/>
                    </a:lnTo>
                    <a:cubicBezTo>
                      <a:pt x="6904252" y="3072008"/>
                      <a:pt x="6939238" y="3102031"/>
                      <a:pt x="6970275" y="3131782"/>
                    </a:cubicBezTo>
                    <a:lnTo>
                      <a:pt x="7256941" y="3467978"/>
                    </a:lnTo>
                    <a:cubicBezTo>
                      <a:pt x="7261455" y="3467978"/>
                      <a:pt x="7261455" y="3467978"/>
                      <a:pt x="7265970" y="3467978"/>
                    </a:cubicBezTo>
                    <a:cubicBezTo>
                      <a:pt x="7274435" y="3467978"/>
                      <a:pt x="7283463" y="3467978"/>
                      <a:pt x="7291928" y="3467978"/>
                    </a:cubicBezTo>
                    <a:cubicBezTo>
                      <a:pt x="7305471" y="3472035"/>
                      <a:pt x="7314500" y="3476362"/>
                      <a:pt x="7327479" y="3480690"/>
                    </a:cubicBezTo>
                    <a:cubicBezTo>
                      <a:pt x="7340458" y="3485017"/>
                      <a:pt x="7349487" y="3493402"/>
                      <a:pt x="7358516" y="3501787"/>
                    </a:cubicBezTo>
                    <a:cubicBezTo>
                      <a:pt x="7366980" y="3510442"/>
                      <a:pt x="7376009" y="3518826"/>
                      <a:pt x="7385037" y="3531809"/>
                    </a:cubicBezTo>
                    <a:cubicBezTo>
                      <a:pt x="7380524" y="3518826"/>
                      <a:pt x="7376009" y="3506114"/>
                      <a:pt x="7366980" y="3493402"/>
                    </a:cubicBezTo>
                    <a:cubicBezTo>
                      <a:pt x="7358516" y="3480690"/>
                      <a:pt x="7349487" y="3472035"/>
                      <a:pt x="7340458" y="3463650"/>
                    </a:cubicBezTo>
                    <a:cubicBezTo>
                      <a:pt x="7331993" y="3454995"/>
                      <a:pt x="7318450" y="3446611"/>
                      <a:pt x="7309986" y="3442283"/>
                    </a:cubicBezTo>
                    <a:cubicBezTo>
                      <a:pt x="7318450" y="3437955"/>
                      <a:pt x="7327479" y="3433898"/>
                      <a:pt x="7340458" y="3429571"/>
                    </a:cubicBezTo>
                    <a:cubicBezTo>
                      <a:pt x="7411560" y="3399819"/>
                      <a:pt x="7477584" y="3374124"/>
                      <a:pt x="7534578" y="3340315"/>
                    </a:cubicBezTo>
                    <a:cubicBezTo>
                      <a:pt x="7534578" y="3353028"/>
                      <a:pt x="7539093" y="3365740"/>
                      <a:pt x="7539093" y="3382779"/>
                    </a:cubicBezTo>
                    <a:cubicBezTo>
                      <a:pt x="7548122" y="3472035"/>
                      <a:pt x="7565615" y="3621064"/>
                      <a:pt x="7517085" y="3736014"/>
                    </a:cubicBezTo>
                    <a:cubicBezTo>
                      <a:pt x="7451061" y="3846637"/>
                      <a:pt x="7261455" y="3872061"/>
                      <a:pt x="7115865" y="3855022"/>
                    </a:cubicBezTo>
                    <a:lnTo>
                      <a:pt x="7106836" y="3855022"/>
                    </a:lnTo>
                    <a:lnTo>
                      <a:pt x="6546483" y="3280541"/>
                    </a:lnTo>
                    <a:cubicBezTo>
                      <a:pt x="6550998" y="3280541"/>
                      <a:pt x="6555512" y="3276484"/>
                      <a:pt x="6560026" y="3276484"/>
                    </a:cubicBezTo>
                    <a:cubicBezTo>
                      <a:pt x="6577520" y="3267829"/>
                      <a:pt x="6595013" y="3259445"/>
                      <a:pt x="6613071" y="3246733"/>
                    </a:cubicBezTo>
                    <a:cubicBezTo>
                      <a:pt x="6590499" y="3242405"/>
                      <a:pt x="6573005" y="3242405"/>
                      <a:pt x="6550998" y="3242405"/>
                    </a:cubicBezTo>
                    <a:cubicBezTo>
                      <a:pt x="6528990" y="3242405"/>
                      <a:pt x="6511496" y="3246733"/>
                      <a:pt x="6493439" y="3250790"/>
                    </a:cubicBezTo>
                    <a:cubicBezTo>
                      <a:pt x="6475945" y="3255117"/>
                      <a:pt x="6453937" y="3259445"/>
                      <a:pt x="6436444" y="3267829"/>
                    </a:cubicBezTo>
                    <a:cubicBezTo>
                      <a:pt x="6418951" y="3276484"/>
                      <a:pt x="6400893" y="3284869"/>
                      <a:pt x="6383400" y="3293524"/>
                    </a:cubicBezTo>
                    <a:cubicBezTo>
                      <a:pt x="6405407" y="3297581"/>
                      <a:pt x="6427415" y="3297581"/>
                      <a:pt x="6445473" y="3297581"/>
                    </a:cubicBezTo>
                    <a:cubicBezTo>
                      <a:pt x="6462966" y="3297581"/>
                      <a:pt x="6480460" y="3293524"/>
                      <a:pt x="6497953" y="3289196"/>
                    </a:cubicBezTo>
                    <a:lnTo>
                      <a:pt x="7084829" y="3889101"/>
                    </a:lnTo>
                    <a:cubicBezTo>
                      <a:pt x="7049842" y="3987011"/>
                      <a:pt x="6970275" y="4050842"/>
                      <a:pt x="6904252" y="4080594"/>
                    </a:cubicBezTo>
                    <a:cubicBezTo>
                      <a:pt x="6851207" y="4106019"/>
                      <a:pt x="6798162" y="4110346"/>
                      <a:pt x="6762611" y="4097634"/>
                    </a:cubicBezTo>
                    <a:lnTo>
                      <a:pt x="6220316" y="3616737"/>
                    </a:lnTo>
                    <a:cubicBezTo>
                      <a:pt x="6233295" y="3612409"/>
                      <a:pt x="6246838" y="3608352"/>
                      <a:pt x="6259817" y="3604025"/>
                    </a:cubicBezTo>
                    <a:cubicBezTo>
                      <a:pt x="6277311" y="3595640"/>
                      <a:pt x="6295368" y="3586985"/>
                      <a:pt x="6312862" y="3574273"/>
                    </a:cubicBezTo>
                    <a:cubicBezTo>
                      <a:pt x="6290854" y="3569945"/>
                      <a:pt x="6273360" y="3569945"/>
                      <a:pt x="6251353" y="3569945"/>
                    </a:cubicBezTo>
                    <a:cubicBezTo>
                      <a:pt x="6228780" y="3569945"/>
                      <a:pt x="6211287" y="3574273"/>
                      <a:pt x="6193794" y="3578600"/>
                    </a:cubicBezTo>
                    <a:cubicBezTo>
                      <a:pt x="6176300" y="3582657"/>
                      <a:pt x="6154292" y="3586985"/>
                      <a:pt x="6136235" y="3595640"/>
                    </a:cubicBezTo>
                    <a:cubicBezTo>
                      <a:pt x="6118741" y="3604025"/>
                      <a:pt x="6101248" y="3612409"/>
                      <a:pt x="6083190" y="3621064"/>
                    </a:cubicBezTo>
                    <a:cubicBezTo>
                      <a:pt x="6105762" y="3625392"/>
                      <a:pt x="6123256" y="3625392"/>
                      <a:pt x="6145264" y="3625392"/>
                    </a:cubicBezTo>
                    <a:cubicBezTo>
                      <a:pt x="6154292" y="3625392"/>
                      <a:pt x="6158243" y="3625392"/>
                      <a:pt x="6167271" y="3621064"/>
                    </a:cubicBezTo>
                    <a:lnTo>
                      <a:pt x="6727625" y="4114674"/>
                    </a:lnTo>
                    <a:cubicBezTo>
                      <a:pt x="6701102" y="4212584"/>
                      <a:pt x="6590499" y="4306167"/>
                      <a:pt x="6497953" y="4331591"/>
                    </a:cubicBezTo>
                    <a:cubicBezTo>
                      <a:pt x="6418951" y="4352959"/>
                      <a:pt x="6352363" y="4314552"/>
                      <a:pt x="6330355" y="4301840"/>
                    </a:cubicBezTo>
                    <a:lnTo>
                      <a:pt x="6321890" y="4297512"/>
                    </a:lnTo>
                    <a:lnTo>
                      <a:pt x="5871576" y="3842309"/>
                    </a:lnTo>
                    <a:cubicBezTo>
                      <a:pt x="5849569" y="3812558"/>
                      <a:pt x="5823046" y="3791190"/>
                      <a:pt x="5788060" y="3778478"/>
                    </a:cubicBezTo>
                    <a:cubicBezTo>
                      <a:pt x="5761537" y="3770094"/>
                      <a:pt x="5735015" y="3774151"/>
                      <a:pt x="5708493" y="3782806"/>
                    </a:cubicBezTo>
                    <a:cubicBezTo>
                      <a:pt x="5717522" y="3770094"/>
                      <a:pt x="5725986" y="3757111"/>
                      <a:pt x="5730501" y="3744399"/>
                    </a:cubicBezTo>
                    <a:cubicBezTo>
                      <a:pt x="5770002" y="3680568"/>
                      <a:pt x="5717522" y="3548578"/>
                      <a:pt x="5620461" y="3472035"/>
                    </a:cubicBezTo>
                    <a:cubicBezTo>
                      <a:pt x="5545409" y="3412531"/>
                      <a:pt x="5465842" y="3399819"/>
                      <a:pt x="5390789" y="3433898"/>
                    </a:cubicBezTo>
                    <a:cubicBezTo>
                      <a:pt x="5395304" y="3425243"/>
                      <a:pt x="5395304" y="3416859"/>
                      <a:pt x="5399818" y="3408204"/>
                    </a:cubicBezTo>
                    <a:cubicBezTo>
                      <a:pt x="5408283" y="3353028"/>
                      <a:pt x="5368782" y="3263502"/>
                      <a:pt x="5302758" y="3203998"/>
                    </a:cubicBezTo>
                    <a:cubicBezTo>
                      <a:pt x="5236170" y="3144495"/>
                      <a:pt x="5161682" y="3119070"/>
                      <a:pt x="5086630" y="3135840"/>
                    </a:cubicBezTo>
                    <a:cubicBezTo>
                      <a:pt x="5033585" y="3148822"/>
                      <a:pt x="4954019" y="3212653"/>
                      <a:pt x="4856959" y="3327333"/>
                    </a:cubicBezTo>
                    <a:cubicBezTo>
                      <a:pt x="4865987" y="3284869"/>
                      <a:pt x="4870502" y="3242405"/>
                      <a:pt x="4861473" y="3208326"/>
                    </a:cubicBezTo>
                    <a:cubicBezTo>
                      <a:pt x="4808428" y="3021160"/>
                      <a:pt x="4676381" y="3042256"/>
                      <a:pt x="4592300" y="3055239"/>
                    </a:cubicBezTo>
                    <a:cubicBezTo>
                      <a:pt x="4579321" y="3055239"/>
                      <a:pt x="4565778" y="3059296"/>
                      <a:pt x="4557313" y="3059296"/>
                    </a:cubicBezTo>
                    <a:cubicBezTo>
                      <a:pt x="4508783" y="3063624"/>
                      <a:pt x="4415673" y="3174246"/>
                      <a:pt x="4327642" y="3284869"/>
                    </a:cubicBezTo>
                    <a:lnTo>
                      <a:pt x="3996960" y="3055239"/>
                    </a:lnTo>
                    <a:lnTo>
                      <a:pt x="4543770" y="1906279"/>
                    </a:lnTo>
                    <a:cubicBezTo>
                      <a:pt x="4574807" y="1842447"/>
                      <a:pt x="4543770" y="1770232"/>
                      <a:pt x="4482261" y="1740209"/>
                    </a:cubicBezTo>
                    <a:lnTo>
                      <a:pt x="4248075" y="1633914"/>
                    </a:lnTo>
                    <a:lnTo>
                      <a:pt x="4305634" y="1493540"/>
                    </a:lnTo>
                    <a:cubicBezTo>
                      <a:pt x="4332156" y="1425382"/>
                      <a:pt x="4296605" y="1353166"/>
                      <a:pt x="4226067" y="1327471"/>
                    </a:cubicBezTo>
                    <a:close/>
                  </a:path>
                </a:pathLst>
              </a:custGeom>
              <a:solidFill>
                <a:schemeClr val="bg2"/>
              </a:solidFill>
              <a:ln w="12700">
                <a:miter lim="400000"/>
              </a:ln>
            </p:spPr>
            <p:txBody>
              <a:bodyPr wrap="square" lIns="38100" tIns="38100" rIns="38100" bIns="38100" anchor="ctr">
                <a:noAutofit/>
              </a:bodyPr>
              <a:lstStyle/>
              <a:p>
                <a:pPr>
                  <a:defRPr sz="3000">
                    <a:solidFill>
                      <a:srgbClr val="FFFFFF"/>
                    </a:solidFill>
                  </a:defRPr>
                </a:pPr>
                <a:endParaRPr lang="en-US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</p:grp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3DE53003-BE9A-4FCB-9200-A55DF60D6A72}"/>
                </a:ext>
              </a:extLst>
            </p:cNvPr>
            <p:cNvSpPr/>
            <p:nvPr/>
          </p:nvSpPr>
          <p:spPr bwMode="gray">
            <a:xfrm>
              <a:off x="3011424" y="1889760"/>
              <a:ext cx="461665" cy="46166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600" b="0" i="0" u="none" baseline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11C925B6-F478-40A2-82CF-82630E332B72}"/>
                </a:ext>
              </a:extLst>
            </p:cNvPr>
            <p:cNvSpPr/>
            <p:nvPr/>
          </p:nvSpPr>
          <p:spPr bwMode="gray">
            <a:xfrm>
              <a:off x="8718911" y="2063385"/>
              <a:ext cx="461665" cy="461665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600" b="0" i="0" u="none" baseline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20EC83-DD85-43AE-89CF-C9468A7340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Executive Summar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BFAE1-45D3-4B3B-81D2-0BF25FA84FB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en-US"/>
              <a:t>Next Steps</a:t>
            </a: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48C576B8-B247-44D2-B66D-CC522B1638D1}"/>
              </a:ext>
            </a:extLst>
          </p:cNvPr>
          <p:cNvGrpSpPr/>
          <p:nvPr/>
        </p:nvGrpSpPr>
        <p:grpSpPr bwMode="gray">
          <a:xfrm>
            <a:off x="408000" y="2511553"/>
            <a:ext cx="2937088" cy="736155"/>
            <a:chOff x="332936" y="4652338"/>
            <a:chExt cx="2937088" cy="736155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52CA5596-846D-4D89-90A6-90388DF039FF}"/>
                </a:ext>
              </a:extLst>
            </p:cNvPr>
            <p:cNvSpPr txBox="1"/>
            <p:nvPr/>
          </p:nvSpPr>
          <p:spPr bwMode="gray">
            <a:xfrm>
              <a:off x="332936" y="4652338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r>
                <a:rPr lang="en-US" sz="2400" b="1" noProof="1"/>
                <a:t>Hilti Team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47947862-AB39-421F-A416-B091F7F90263}"/>
                </a:ext>
              </a:extLst>
            </p:cNvPr>
            <p:cNvSpPr txBox="1"/>
            <p:nvPr/>
          </p:nvSpPr>
          <p:spPr bwMode="gray">
            <a:xfrm>
              <a:off x="340731" y="5111494"/>
              <a:ext cx="2929293" cy="276999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>
                <a:spcAft>
                  <a:spcPts val="1200"/>
                </a:spcAft>
              </a:pPr>
              <a:r>
                <a:rPr lang="en-US" sz="1200" noProof="1"/>
                <a:t>xxx</a:t>
              </a: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DC3FB469-B78D-4082-8D95-902F1B130428}"/>
              </a:ext>
            </a:extLst>
          </p:cNvPr>
          <p:cNvGrpSpPr/>
          <p:nvPr/>
        </p:nvGrpSpPr>
        <p:grpSpPr bwMode="gray">
          <a:xfrm>
            <a:off x="8846912" y="2511553"/>
            <a:ext cx="2937088" cy="736155"/>
            <a:chOff x="332936" y="4652338"/>
            <a:chExt cx="2937088" cy="736155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B396F448-C867-49F9-8147-D1DB954E7BE9}"/>
                </a:ext>
              </a:extLst>
            </p:cNvPr>
            <p:cNvSpPr txBox="1"/>
            <p:nvPr/>
          </p:nvSpPr>
          <p:spPr bwMode="gray">
            <a:xfrm>
              <a:off x="332936" y="4652338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r>
                <a:rPr lang="en-US" sz="2400" b="1" noProof="1"/>
                <a:t>Company Name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3C12E928-C143-4236-BA82-67D2A06FAD78}"/>
                </a:ext>
              </a:extLst>
            </p:cNvPr>
            <p:cNvSpPr txBox="1"/>
            <p:nvPr/>
          </p:nvSpPr>
          <p:spPr bwMode="gray">
            <a:xfrm>
              <a:off x="340731" y="5111494"/>
              <a:ext cx="2929293" cy="276999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>
                <a:spcAft>
                  <a:spcPts val="1200"/>
                </a:spcAft>
              </a:pPr>
              <a:r>
                <a:rPr lang="en-US" sz="1200" noProof="1"/>
                <a:t>xxx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8138710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BE4C2623-EC49-C3F8-8934-D3B26BF671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4C2623-EC49-C3F8-8934-D3B26BF67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F74AE3FD-A396-41D8-A34A-9B989B9026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Key Take-aways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last </a:t>
            </a:r>
            <a:r>
              <a:rPr lang="de-CH" dirty="0" err="1"/>
              <a:t>meeting</a:t>
            </a:r>
            <a:endParaRPr lang="de-CH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FA011C5-23F6-4565-ACF2-021B6C4B2A2F}"/>
              </a:ext>
            </a:extLst>
          </p:cNvPr>
          <p:cNvSpPr/>
          <p:nvPr/>
        </p:nvSpPr>
        <p:spPr>
          <a:xfrm>
            <a:off x="479424" y="1644325"/>
            <a:ext cx="3552825" cy="16143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en-US" sz="1200" dirty="0">
              <a:latin typeface="+mj-lt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83A4293-933C-4932-9944-94A4C32331BA}"/>
              </a:ext>
            </a:extLst>
          </p:cNvPr>
          <p:cNvSpPr/>
          <p:nvPr/>
        </p:nvSpPr>
        <p:spPr>
          <a:xfrm>
            <a:off x="479425" y="1644325"/>
            <a:ext cx="68580" cy="161436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en-US" sz="12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6165D04-7B08-4769-8FD9-D70A20B16D08}"/>
              </a:ext>
            </a:extLst>
          </p:cNvPr>
          <p:cNvSpPr txBox="1"/>
          <p:nvPr/>
        </p:nvSpPr>
        <p:spPr>
          <a:xfrm>
            <a:off x="676183" y="2059094"/>
            <a:ext cx="665568" cy="78483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4500" b="1" dirty="0">
                <a:solidFill>
                  <a:schemeClr val="bg1">
                    <a:lumMod val="50000"/>
                  </a:schemeClr>
                </a:solidFill>
                <a:latin typeface="+mj-lt"/>
                <a:ea typeface="League Spartan" charset="0"/>
                <a:cs typeface="Poppins" pitchFamily="2" charset="77"/>
              </a:rPr>
              <a:t>1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3C3AB8-2A8C-490C-80C1-F4062070CE34}"/>
              </a:ext>
            </a:extLst>
          </p:cNvPr>
          <p:cNvSpPr/>
          <p:nvPr/>
        </p:nvSpPr>
        <p:spPr>
          <a:xfrm>
            <a:off x="479424" y="3599308"/>
            <a:ext cx="3552825" cy="16143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en-US" sz="1200" dirty="0">
              <a:latin typeface="+mj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CD8A9FA-CE77-4C3E-AACF-FA0BC45FBA68}"/>
              </a:ext>
            </a:extLst>
          </p:cNvPr>
          <p:cNvSpPr/>
          <p:nvPr/>
        </p:nvSpPr>
        <p:spPr>
          <a:xfrm>
            <a:off x="479425" y="3599308"/>
            <a:ext cx="68580" cy="161436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en-US" sz="12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9D7481-4F26-4562-AF71-2A2C59AEB3BF}"/>
              </a:ext>
            </a:extLst>
          </p:cNvPr>
          <p:cNvSpPr txBox="1"/>
          <p:nvPr/>
        </p:nvSpPr>
        <p:spPr>
          <a:xfrm>
            <a:off x="676182" y="4014077"/>
            <a:ext cx="665568" cy="78483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4500" b="1" dirty="0">
                <a:solidFill>
                  <a:schemeClr val="accent4"/>
                </a:solidFill>
                <a:latin typeface="+mj-lt"/>
                <a:ea typeface="League Spartan" charset="0"/>
                <a:cs typeface="Poppins" pitchFamily="2" charset="77"/>
              </a:rPr>
              <a:t>4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4084530-801F-4C41-A039-7AA211DB5A0E}"/>
              </a:ext>
            </a:extLst>
          </p:cNvPr>
          <p:cNvSpPr/>
          <p:nvPr/>
        </p:nvSpPr>
        <p:spPr>
          <a:xfrm>
            <a:off x="4318000" y="1644325"/>
            <a:ext cx="3556000" cy="16143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en-US" sz="1200" dirty="0">
              <a:latin typeface="+mj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31D5F2-A348-4522-A15D-F8C820315B55}"/>
              </a:ext>
            </a:extLst>
          </p:cNvPr>
          <p:cNvSpPr/>
          <p:nvPr/>
        </p:nvSpPr>
        <p:spPr>
          <a:xfrm>
            <a:off x="4317999" y="1644325"/>
            <a:ext cx="68580" cy="161436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en-US" sz="12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9E4B8D5-AC70-487D-ACF1-971EEA61BCA8}"/>
              </a:ext>
            </a:extLst>
          </p:cNvPr>
          <p:cNvSpPr txBox="1"/>
          <p:nvPr/>
        </p:nvSpPr>
        <p:spPr>
          <a:xfrm>
            <a:off x="4514757" y="2059094"/>
            <a:ext cx="665568" cy="78483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4500" b="1" dirty="0">
                <a:solidFill>
                  <a:schemeClr val="accent2"/>
                </a:solidFill>
                <a:latin typeface="+mj-lt"/>
                <a:ea typeface="League Spartan" charset="0"/>
                <a:cs typeface="Poppins" pitchFamily="2" charset="77"/>
              </a:rPr>
              <a:t>2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64FBC6F-9DC9-4A1D-8789-E328AB532BD3}"/>
              </a:ext>
            </a:extLst>
          </p:cNvPr>
          <p:cNvSpPr/>
          <p:nvPr/>
        </p:nvSpPr>
        <p:spPr>
          <a:xfrm>
            <a:off x="4318000" y="3599308"/>
            <a:ext cx="3556000" cy="16143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en-US" sz="1200" dirty="0">
              <a:latin typeface="+mj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2785788-C7DA-4BA2-AFC5-968FD4BF4B6F}"/>
              </a:ext>
            </a:extLst>
          </p:cNvPr>
          <p:cNvSpPr/>
          <p:nvPr/>
        </p:nvSpPr>
        <p:spPr>
          <a:xfrm>
            <a:off x="4317999" y="3599308"/>
            <a:ext cx="68580" cy="1614367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en-US" sz="12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EB51C5-1C94-46B6-8CD2-2082745FF283}"/>
              </a:ext>
            </a:extLst>
          </p:cNvPr>
          <p:cNvSpPr txBox="1"/>
          <p:nvPr/>
        </p:nvSpPr>
        <p:spPr>
          <a:xfrm>
            <a:off x="4514757" y="4014077"/>
            <a:ext cx="665568" cy="78483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4500" b="1" dirty="0">
                <a:solidFill>
                  <a:schemeClr val="bg2">
                    <a:lumMod val="50000"/>
                  </a:schemeClr>
                </a:solidFill>
                <a:latin typeface="+mj-lt"/>
                <a:ea typeface="League Spartan" charset="0"/>
                <a:cs typeface="Poppins" pitchFamily="2" charset="77"/>
              </a:rPr>
              <a:t>5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41F80D8-7EDE-4CC2-BD3B-08D0CA3DD589}"/>
              </a:ext>
            </a:extLst>
          </p:cNvPr>
          <p:cNvSpPr/>
          <p:nvPr/>
        </p:nvSpPr>
        <p:spPr>
          <a:xfrm>
            <a:off x="8159753" y="1644325"/>
            <a:ext cx="3552821" cy="16143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en-US" sz="1200" dirty="0">
              <a:latin typeface="+mj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0BBA4F-4257-4B13-82DC-B623C1BDEF01}"/>
              </a:ext>
            </a:extLst>
          </p:cNvPr>
          <p:cNvSpPr/>
          <p:nvPr/>
        </p:nvSpPr>
        <p:spPr>
          <a:xfrm>
            <a:off x="8159753" y="1644325"/>
            <a:ext cx="68580" cy="161436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en-US" sz="12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5AB34AC-93CA-4E74-B4C4-14D1E707FF64}"/>
              </a:ext>
            </a:extLst>
          </p:cNvPr>
          <p:cNvSpPr txBox="1"/>
          <p:nvPr/>
        </p:nvSpPr>
        <p:spPr>
          <a:xfrm>
            <a:off x="8356511" y="2059094"/>
            <a:ext cx="665568" cy="78483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4500" b="1" dirty="0">
                <a:solidFill>
                  <a:schemeClr val="accent3"/>
                </a:solidFill>
                <a:latin typeface="+mj-lt"/>
                <a:ea typeface="League Spartan" charset="0"/>
                <a:cs typeface="Poppins" pitchFamily="2" charset="77"/>
              </a:rPr>
              <a:t>3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4A15DB0-BE67-466E-AC9C-C216109573FD}"/>
              </a:ext>
            </a:extLst>
          </p:cNvPr>
          <p:cNvSpPr/>
          <p:nvPr/>
        </p:nvSpPr>
        <p:spPr>
          <a:xfrm>
            <a:off x="8159753" y="3599308"/>
            <a:ext cx="3552821" cy="16143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en-US" sz="1200" dirty="0">
              <a:latin typeface="+mj-lt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26548D9-A0E6-4BFD-A35D-15CA63612213}"/>
              </a:ext>
            </a:extLst>
          </p:cNvPr>
          <p:cNvSpPr/>
          <p:nvPr/>
        </p:nvSpPr>
        <p:spPr>
          <a:xfrm>
            <a:off x="8159753" y="3599308"/>
            <a:ext cx="68580" cy="16143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en-US" sz="12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F88688C-2688-4FCE-B5D9-0E24495E5A2C}"/>
              </a:ext>
            </a:extLst>
          </p:cNvPr>
          <p:cNvSpPr txBox="1"/>
          <p:nvPr/>
        </p:nvSpPr>
        <p:spPr>
          <a:xfrm>
            <a:off x="8356511" y="4014077"/>
            <a:ext cx="665568" cy="78483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4500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6.</a:t>
            </a:r>
          </a:p>
        </p:txBody>
      </p:sp>
      <p:sp>
        <p:nvSpPr>
          <p:cNvPr id="23" name="TextBox 16">
            <a:extLst>
              <a:ext uri="{FF2B5EF4-FFF2-40B4-BE49-F238E27FC236}">
                <a16:creationId xmlns:a16="http://schemas.microsoft.com/office/drawing/2014/main" id="{3CFA414C-A47A-438F-B54C-3EBB8DD4C338}"/>
              </a:ext>
            </a:extLst>
          </p:cNvPr>
          <p:cNvSpPr txBox="1"/>
          <p:nvPr/>
        </p:nvSpPr>
        <p:spPr>
          <a:xfrm>
            <a:off x="1524308" y="1839624"/>
            <a:ext cx="1801134" cy="307777"/>
          </a:xfrm>
          <a:prstGeom prst="rect">
            <a:avLst/>
          </a:prstGeom>
          <a:noFill/>
        </p:spPr>
        <p:txBody>
          <a:bodyPr wrap="none" lIns="0" rtlCol="0" anchor="ctr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dirty="0">
                <a:latin typeface="+mj-lt"/>
                <a:cs typeface="Poppins" pitchFamily="2" charset="77"/>
              </a:rPr>
              <a:t>Jobsite Productivity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EAEAE538-7A0C-4FEC-9204-98F1EF8228D4}"/>
              </a:ext>
            </a:extLst>
          </p:cNvPr>
          <p:cNvSpPr txBox="1">
            <a:spLocks/>
          </p:cNvSpPr>
          <p:nvPr/>
        </p:nvSpPr>
        <p:spPr>
          <a:xfrm>
            <a:off x="1524309" y="2162790"/>
            <a:ext cx="1610872" cy="946862"/>
          </a:xfrm>
          <a:prstGeom prst="rect">
            <a:avLst/>
          </a:prstGeom>
        </p:spPr>
        <p:txBody>
          <a:bodyPr vert="horz" wrap="square" lIns="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  <a:spcBef>
                <a:spcPts val="600"/>
              </a:spcBef>
            </a:pPr>
            <a:r>
              <a:rPr lang="en-US" sz="1200" dirty="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consetetur</a:t>
            </a:r>
            <a:r>
              <a:rPr lang="en-US" sz="1200" dirty="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sadipscing</a:t>
            </a:r>
            <a:r>
              <a:rPr lang="en-US" sz="1200" dirty="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elitr</a:t>
            </a:r>
            <a:r>
              <a:rPr lang="en-US" sz="1200" dirty="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, sed diam </a:t>
            </a:r>
            <a:r>
              <a:rPr lang="en-US" sz="1200" dirty="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nonumy</a:t>
            </a:r>
            <a:r>
              <a:rPr lang="en-US" sz="1200" dirty="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eirmod</a:t>
            </a:r>
            <a:r>
              <a:rPr lang="en-US" sz="1200" dirty="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.</a:t>
            </a:r>
          </a:p>
        </p:txBody>
      </p:sp>
      <p:sp>
        <p:nvSpPr>
          <p:cNvPr id="25" name="TextBox 16">
            <a:extLst>
              <a:ext uri="{FF2B5EF4-FFF2-40B4-BE49-F238E27FC236}">
                <a16:creationId xmlns:a16="http://schemas.microsoft.com/office/drawing/2014/main" id="{27853726-7E5D-49DB-8F5D-EE6DBBF626FE}"/>
              </a:ext>
            </a:extLst>
          </p:cNvPr>
          <p:cNvSpPr txBox="1"/>
          <p:nvPr/>
        </p:nvSpPr>
        <p:spPr>
          <a:xfrm>
            <a:off x="5415574" y="1839624"/>
            <a:ext cx="2118529" cy="307777"/>
          </a:xfrm>
          <a:prstGeom prst="rect">
            <a:avLst/>
          </a:prstGeom>
          <a:noFill/>
        </p:spPr>
        <p:txBody>
          <a:bodyPr wrap="none" lIns="0" rtlCol="0" anchor="ctr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dirty="0">
                <a:latin typeface="+mj-lt"/>
                <a:cs typeface="Poppins" pitchFamily="2" charset="77"/>
              </a:rPr>
              <a:t>Mobilizing for new Jobs</a:t>
            </a: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41F9912F-12CD-4399-9133-16D4FED467B9}"/>
              </a:ext>
            </a:extLst>
          </p:cNvPr>
          <p:cNvSpPr txBox="1">
            <a:spLocks/>
          </p:cNvSpPr>
          <p:nvPr/>
        </p:nvSpPr>
        <p:spPr>
          <a:xfrm>
            <a:off x="5415575" y="2162790"/>
            <a:ext cx="1610872" cy="946862"/>
          </a:xfrm>
          <a:prstGeom prst="rect">
            <a:avLst/>
          </a:prstGeom>
        </p:spPr>
        <p:txBody>
          <a:bodyPr vert="horz" wrap="square" lIns="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  <a:spcBef>
                <a:spcPts val="600"/>
              </a:spcBef>
            </a:pP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consetetur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sadipscing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elitr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, sed diam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nonumy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eirmod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.</a:t>
            </a:r>
          </a:p>
        </p:txBody>
      </p:sp>
      <p:sp>
        <p:nvSpPr>
          <p:cNvPr id="27" name="TextBox 16">
            <a:extLst>
              <a:ext uri="{FF2B5EF4-FFF2-40B4-BE49-F238E27FC236}">
                <a16:creationId xmlns:a16="http://schemas.microsoft.com/office/drawing/2014/main" id="{1D17BB38-4E28-4563-ABB5-A0D513ABF52E}"/>
              </a:ext>
            </a:extLst>
          </p:cNvPr>
          <p:cNvSpPr txBox="1"/>
          <p:nvPr/>
        </p:nvSpPr>
        <p:spPr>
          <a:xfrm>
            <a:off x="9158820" y="1835011"/>
            <a:ext cx="1723933" cy="307777"/>
          </a:xfrm>
          <a:prstGeom prst="rect">
            <a:avLst/>
          </a:prstGeom>
          <a:noFill/>
        </p:spPr>
        <p:txBody>
          <a:bodyPr wrap="none" lIns="0" rtlCol="0" anchor="ctr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dirty="0">
                <a:latin typeface="+mj-lt"/>
                <a:cs typeface="Poppins" pitchFamily="2" charset="77"/>
              </a:rPr>
              <a:t>Job-costing Assets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2E3C7E84-C3EF-4779-824E-F267D4A4CFC8}"/>
              </a:ext>
            </a:extLst>
          </p:cNvPr>
          <p:cNvSpPr txBox="1">
            <a:spLocks/>
          </p:cNvSpPr>
          <p:nvPr/>
        </p:nvSpPr>
        <p:spPr>
          <a:xfrm>
            <a:off x="9158821" y="2158177"/>
            <a:ext cx="1610872" cy="946862"/>
          </a:xfrm>
          <a:prstGeom prst="rect">
            <a:avLst/>
          </a:prstGeom>
        </p:spPr>
        <p:txBody>
          <a:bodyPr vert="horz" wrap="square" lIns="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  <a:spcBef>
                <a:spcPts val="600"/>
              </a:spcBef>
            </a:pP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consetetur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sadipscing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elitr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, sed diam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nonumy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eirmod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.</a:t>
            </a:r>
          </a:p>
        </p:txBody>
      </p:sp>
      <p:sp>
        <p:nvSpPr>
          <p:cNvPr id="29" name="TextBox 16">
            <a:extLst>
              <a:ext uri="{FF2B5EF4-FFF2-40B4-BE49-F238E27FC236}">
                <a16:creationId xmlns:a16="http://schemas.microsoft.com/office/drawing/2014/main" id="{13AE8F93-2D2B-460B-9436-F74EA9BCF170}"/>
              </a:ext>
            </a:extLst>
          </p:cNvPr>
          <p:cNvSpPr txBox="1"/>
          <p:nvPr/>
        </p:nvSpPr>
        <p:spPr>
          <a:xfrm>
            <a:off x="1524308" y="3801139"/>
            <a:ext cx="1330942" cy="307777"/>
          </a:xfrm>
          <a:prstGeom prst="rect">
            <a:avLst/>
          </a:prstGeom>
          <a:noFill/>
        </p:spPr>
        <p:txBody>
          <a:bodyPr wrap="none" lIns="0" rtlCol="0" anchor="ctr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dirty="0">
                <a:latin typeface="+mj-lt"/>
                <a:cs typeface="Poppins" pitchFamily="2" charset="77"/>
              </a:rPr>
              <a:t>Tool Packages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B3C89C13-8C78-4A1A-8FC0-EBA6B346675D}"/>
              </a:ext>
            </a:extLst>
          </p:cNvPr>
          <p:cNvSpPr txBox="1">
            <a:spLocks/>
          </p:cNvSpPr>
          <p:nvPr/>
        </p:nvSpPr>
        <p:spPr>
          <a:xfrm>
            <a:off x="1524309" y="4124305"/>
            <a:ext cx="1610872" cy="946862"/>
          </a:xfrm>
          <a:prstGeom prst="rect">
            <a:avLst/>
          </a:prstGeom>
        </p:spPr>
        <p:txBody>
          <a:bodyPr vert="horz" wrap="square" lIns="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  <a:spcBef>
                <a:spcPts val="600"/>
              </a:spcBef>
            </a:pP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consetetur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sadipscing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elitr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, sed diam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nonumy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eirmod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.</a:t>
            </a:r>
          </a:p>
        </p:txBody>
      </p:sp>
      <p:sp>
        <p:nvSpPr>
          <p:cNvPr id="31" name="TextBox 16">
            <a:extLst>
              <a:ext uri="{FF2B5EF4-FFF2-40B4-BE49-F238E27FC236}">
                <a16:creationId xmlns:a16="http://schemas.microsoft.com/office/drawing/2014/main" id="{82491B7C-0F60-41E2-89D4-2B6115E863CF}"/>
              </a:ext>
            </a:extLst>
          </p:cNvPr>
          <p:cNvSpPr txBox="1"/>
          <p:nvPr/>
        </p:nvSpPr>
        <p:spPr>
          <a:xfrm>
            <a:off x="5415574" y="3801139"/>
            <a:ext cx="1831592" cy="307777"/>
          </a:xfrm>
          <a:prstGeom prst="rect">
            <a:avLst/>
          </a:prstGeom>
          <a:noFill/>
        </p:spPr>
        <p:txBody>
          <a:bodyPr wrap="none" lIns="0" rtlCol="0" anchor="ctr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dirty="0">
                <a:latin typeface="+mj-lt"/>
                <a:cs typeface="Poppins" pitchFamily="2" charset="77"/>
              </a:rPr>
              <a:t>Software Landscape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2A040E51-E0E2-4C6A-B013-D241A19D136D}"/>
              </a:ext>
            </a:extLst>
          </p:cNvPr>
          <p:cNvSpPr txBox="1">
            <a:spLocks/>
          </p:cNvSpPr>
          <p:nvPr/>
        </p:nvSpPr>
        <p:spPr>
          <a:xfrm>
            <a:off x="5415575" y="4124305"/>
            <a:ext cx="1610872" cy="946862"/>
          </a:xfrm>
          <a:prstGeom prst="rect">
            <a:avLst/>
          </a:prstGeom>
        </p:spPr>
        <p:txBody>
          <a:bodyPr vert="horz" wrap="square" lIns="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  <a:spcBef>
                <a:spcPts val="600"/>
              </a:spcBef>
            </a:pP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consetetur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sadipscing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elitr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, sed diam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nonumy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eirmod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.</a:t>
            </a:r>
          </a:p>
        </p:txBody>
      </p:sp>
      <p:sp>
        <p:nvSpPr>
          <p:cNvPr id="33" name="TextBox 16">
            <a:extLst>
              <a:ext uri="{FF2B5EF4-FFF2-40B4-BE49-F238E27FC236}">
                <a16:creationId xmlns:a16="http://schemas.microsoft.com/office/drawing/2014/main" id="{6B91D7F8-99B1-4220-B000-36FD7505A54B}"/>
              </a:ext>
            </a:extLst>
          </p:cNvPr>
          <p:cNvSpPr txBox="1"/>
          <p:nvPr/>
        </p:nvSpPr>
        <p:spPr>
          <a:xfrm>
            <a:off x="9158820" y="3796526"/>
            <a:ext cx="1682512" cy="307777"/>
          </a:xfrm>
          <a:prstGeom prst="rect">
            <a:avLst/>
          </a:prstGeom>
          <a:noFill/>
        </p:spPr>
        <p:txBody>
          <a:bodyPr wrap="none" lIns="0" rtlCol="0" anchor="ctr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dirty="0">
                <a:latin typeface="+mj-lt"/>
                <a:cs typeface="Poppins" pitchFamily="2" charset="77"/>
              </a:rPr>
              <a:t>Office Productivity</a:t>
            </a:r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FAB7F852-8D4D-485A-A969-388D2583A3F7}"/>
              </a:ext>
            </a:extLst>
          </p:cNvPr>
          <p:cNvSpPr txBox="1">
            <a:spLocks/>
          </p:cNvSpPr>
          <p:nvPr/>
        </p:nvSpPr>
        <p:spPr>
          <a:xfrm>
            <a:off x="9158821" y="4119692"/>
            <a:ext cx="1610872" cy="946862"/>
          </a:xfrm>
          <a:prstGeom prst="rect">
            <a:avLst/>
          </a:prstGeom>
        </p:spPr>
        <p:txBody>
          <a:bodyPr vert="horz" wrap="square" lIns="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  <a:spcBef>
                <a:spcPts val="600"/>
              </a:spcBef>
            </a:pP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consetetur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sadipscing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elitr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, sed diam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nonumy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eirmod</a:t>
            </a:r>
            <a:r>
              <a:rPr lang="en-US" sz="1200">
                <a:solidFill>
                  <a:schemeClr val="tx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.</a:t>
            </a:r>
          </a:p>
        </p:txBody>
      </p:sp>
      <p:sp>
        <p:nvSpPr>
          <p:cNvPr id="42" name="Footer Placeholder 41">
            <a:extLst>
              <a:ext uri="{FF2B5EF4-FFF2-40B4-BE49-F238E27FC236}">
                <a16:creationId xmlns:a16="http://schemas.microsoft.com/office/drawing/2014/main" id="{6A48F3EA-4AA0-49EC-0BB5-4C573DEAC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xecutive Summary</a:t>
            </a:r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264321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  <p:bldP spid="14" grpId="0" animBg="1"/>
      <p:bldP spid="17" grpId="0" animBg="1"/>
      <p:bldP spid="2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EC1092-08D3-47DC-B896-CE12910572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2EC1092-08D3-47DC-B896-CE12910572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4" name="Title 1">
            <a:extLst>
              <a:ext uri="{FF2B5EF4-FFF2-40B4-BE49-F238E27FC236}">
                <a16:creationId xmlns:a16="http://schemas.microsoft.com/office/drawing/2014/main" id="{29604F11-503B-47B8-8F27-EBBD69138C0D}"/>
              </a:ext>
            </a:extLst>
          </p:cNvPr>
          <p:cNvSpPr txBox="1">
            <a:spLocks/>
          </p:cNvSpPr>
          <p:nvPr/>
        </p:nvSpPr>
        <p:spPr>
          <a:xfrm>
            <a:off x="407988" y="333000"/>
            <a:ext cx="11376025" cy="792538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lnSpc>
                <a:spcPts val="3270"/>
              </a:lnSpc>
              <a:spcBef>
                <a:spcPct val="0"/>
              </a:spcBef>
              <a:buNone/>
              <a:defRPr sz="30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five big opportunities to increase</a:t>
            </a:r>
            <a:r>
              <a:rPr lang="en-US" b="1"/>
              <a:t> productivity</a:t>
            </a: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061D004-65A9-FE75-313F-8D51DD971011}"/>
              </a:ext>
            </a:extLst>
          </p:cNvPr>
          <p:cNvSpPr txBox="1">
            <a:spLocks/>
          </p:cNvSpPr>
          <p:nvPr/>
        </p:nvSpPr>
        <p:spPr bwMode="gray">
          <a:xfrm>
            <a:off x="11405738" y="6442034"/>
            <a:ext cx="504056" cy="186884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4178FD-43BF-4968-A299-3450DC0CDF97}" type="slidenum">
              <a:rPr lang="en-US" sz="1200" smtClean="0"/>
              <a:pPr/>
              <a:t>4</a:t>
            </a:fld>
            <a:endParaRPr lang="en-US" sz="1200"/>
          </a:p>
        </p:txBody>
      </p:sp>
      <p:sp>
        <p:nvSpPr>
          <p:cNvPr id="34" name="직사각형 54">
            <a:extLst>
              <a:ext uri="{FF2B5EF4-FFF2-40B4-BE49-F238E27FC236}">
                <a16:creationId xmlns:a16="http://schemas.microsoft.com/office/drawing/2014/main" id="{9F59E50F-D8C0-08A9-DA32-BF9FD35DC627}"/>
              </a:ext>
            </a:extLst>
          </p:cNvPr>
          <p:cNvSpPr/>
          <p:nvPr/>
        </p:nvSpPr>
        <p:spPr>
          <a:xfrm>
            <a:off x="593581" y="4656969"/>
            <a:ext cx="2488361" cy="102901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1"/>
          </a:p>
        </p:txBody>
      </p:sp>
      <p:sp>
        <p:nvSpPr>
          <p:cNvPr id="35" name="직사각형 1">
            <a:extLst>
              <a:ext uri="{FF2B5EF4-FFF2-40B4-BE49-F238E27FC236}">
                <a16:creationId xmlns:a16="http://schemas.microsoft.com/office/drawing/2014/main" id="{CC9FF0AD-8CE4-1B4C-A7C1-EE6FC226F53A}"/>
              </a:ext>
            </a:extLst>
          </p:cNvPr>
          <p:cNvSpPr/>
          <p:nvPr/>
        </p:nvSpPr>
        <p:spPr>
          <a:xfrm>
            <a:off x="573816" y="1875241"/>
            <a:ext cx="2488361" cy="275424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1"/>
          </a:p>
        </p:txBody>
      </p:sp>
      <p:sp>
        <p:nvSpPr>
          <p:cNvPr id="45" name="직사각형 54">
            <a:extLst>
              <a:ext uri="{FF2B5EF4-FFF2-40B4-BE49-F238E27FC236}">
                <a16:creationId xmlns:a16="http://schemas.microsoft.com/office/drawing/2014/main" id="{4C761CD1-8816-AB25-CEA6-417F0BC345AF}"/>
              </a:ext>
            </a:extLst>
          </p:cNvPr>
          <p:cNvSpPr/>
          <p:nvPr/>
        </p:nvSpPr>
        <p:spPr>
          <a:xfrm>
            <a:off x="3182337" y="3883025"/>
            <a:ext cx="2488361" cy="180930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1"/>
          </a:p>
        </p:txBody>
      </p:sp>
      <p:sp>
        <p:nvSpPr>
          <p:cNvPr id="46" name="직사각형 1">
            <a:extLst>
              <a:ext uri="{FF2B5EF4-FFF2-40B4-BE49-F238E27FC236}">
                <a16:creationId xmlns:a16="http://schemas.microsoft.com/office/drawing/2014/main" id="{4E080749-46A4-65B0-FBCB-EBA77EAF00E3}"/>
              </a:ext>
            </a:extLst>
          </p:cNvPr>
          <p:cNvSpPr/>
          <p:nvPr/>
        </p:nvSpPr>
        <p:spPr>
          <a:xfrm>
            <a:off x="3182337" y="1875241"/>
            <a:ext cx="2488361" cy="196523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1"/>
          </a:p>
        </p:txBody>
      </p:sp>
      <p:sp>
        <p:nvSpPr>
          <p:cNvPr id="51" name="직사각형 54">
            <a:extLst>
              <a:ext uri="{FF2B5EF4-FFF2-40B4-BE49-F238E27FC236}">
                <a16:creationId xmlns:a16="http://schemas.microsoft.com/office/drawing/2014/main" id="{A62170BB-E923-9C0C-A41A-77A29016410D}"/>
              </a:ext>
            </a:extLst>
          </p:cNvPr>
          <p:cNvSpPr/>
          <p:nvPr/>
        </p:nvSpPr>
        <p:spPr>
          <a:xfrm>
            <a:off x="9073438" y="1862643"/>
            <a:ext cx="2481102" cy="383931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1"/>
          </a:p>
        </p:txBody>
      </p:sp>
      <p:pic>
        <p:nvPicPr>
          <p:cNvPr id="480" name="Picture 479">
            <a:extLst>
              <a:ext uri="{FF2B5EF4-FFF2-40B4-BE49-F238E27FC236}">
                <a16:creationId xmlns:a16="http://schemas.microsoft.com/office/drawing/2014/main" id="{3B534F7E-4B94-3FB1-0411-CA3187990FC2}"/>
              </a:ext>
            </a:extLst>
          </p:cNvPr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4526085" y="2670756"/>
            <a:ext cx="1115568" cy="2834640"/>
          </a:xfrm>
          <a:prstGeom prst="rect">
            <a:avLst/>
          </a:prstGeom>
        </p:spPr>
      </p:pic>
      <p:grpSp>
        <p:nvGrpSpPr>
          <p:cNvPr id="482" name="Group 481">
            <a:extLst>
              <a:ext uri="{FF2B5EF4-FFF2-40B4-BE49-F238E27FC236}">
                <a16:creationId xmlns:a16="http://schemas.microsoft.com/office/drawing/2014/main" id="{2342C653-1C0A-A98A-03CA-8BE8A013A36C}"/>
              </a:ext>
            </a:extLst>
          </p:cNvPr>
          <p:cNvGrpSpPr/>
          <p:nvPr/>
        </p:nvGrpSpPr>
        <p:grpSpPr>
          <a:xfrm>
            <a:off x="1904699" y="2709633"/>
            <a:ext cx="1115568" cy="2834640"/>
            <a:chOff x="3226110" y="2286618"/>
            <a:chExt cx="1645249" cy="4063822"/>
          </a:xfrm>
        </p:grpSpPr>
        <p:grpSp>
          <p:nvGrpSpPr>
            <p:cNvPr id="483" name="Group 482">
              <a:extLst>
                <a:ext uri="{FF2B5EF4-FFF2-40B4-BE49-F238E27FC236}">
                  <a16:creationId xmlns:a16="http://schemas.microsoft.com/office/drawing/2014/main" id="{482B344D-DFE9-36D9-93A6-830F280D9BC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227238" y="2286618"/>
              <a:ext cx="1644121" cy="4058504"/>
              <a:chOff x="5011560" y="-2667986"/>
              <a:chExt cx="3720960" cy="9185168"/>
            </a:xfrm>
          </p:grpSpPr>
          <p:pic>
            <p:nvPicPr>
              <p:cNvPr id="485" name="Picture 484">
                <a:extLst>
                  <a:ext uri="{FF2B5EF4-FFF2-40B4-BE49-F238E27FC236}">
                    <a16:creationId xmlns:a16="http://schemas.microsoft.com/office/drawing/2014/main" id="{0F3F1799-4087-27EF-19D3-A7782BB9D1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clrChange>
                  <a:clrFrom>
                    <a:srgbClr val="671C3E"/>
                  </a:clrFrom>
                  <a:clrTo>
                    <a:srgbClr val="671C3E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011560" y="-2667986"/>
                <a:ext cx="3720960" cy="9185168"/>
              </a:xfrm>
              <a:prstGeom prst="rect">
                <a:avLst/>
              </a:prstGeom>
            </p:spPr>
          </p:pic>
          <p:sp>
            <p:nvSpPr>
              <p:cNvPr id="486" name="Rectangle 485">
                <a:extLst>
                  <a:ext uri="{FF2B5EF4-FFF2-40B4-BE49-F238E27FC236}">
                    <a16:creationId xmlns:a16="http://schemas.microsoft.com/office/drawing/2014/main" id="{527BF7FF-6F6A-F1B8-DA73-02ED24F6EEA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42990" y="3628390"/>
                <a:ext cx="676656" cy="48260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87" name="Rectangle 486">
                <a:extLst>
                  <a:ext uri="{FF2B5EF4-FFF2-40B4-BE49-F238E27FC236}">
                    <a16:creationId xmlns:a16="http://schemas.microsoft.com/office/drawing/2014/main" id="{67F70F0F-09E0-5777-C809-9DBF1DD0FEB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336790" y="3628390"/>
                <a:ext cx="667512" cy="48260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484" name="Picture 483">
              <a:extLst>
                <a:ext uri="{FF2B5EF4-FFF2-40B4-BE49-F238E27FC236}">
                  <a16:creationId xmlns:a16="http://schemas.microsoft.com/office/drawing/2014/main" id="{6B71F222-3786-A1A3-570D-F249675E57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8835"/>
            <a:stretch/>
          </p:blipFill>
          <p:spPr>
            <a:xfrm>
              <a:off x="3226110" y="5085587"/>
              <a:ext cx="1644121" cy="1264853"/>
            </a:xfrm>
            <a:prstGeom prst="rect">
              <a:avLst/>
            </a:prstGeom>
          </p:spPr>
        </p:pic>
      </p:grpSp>
      <p:sp>
        <p:nvSpPr>
          <p:cNvPr id="490" name="TextBox 489">
            <a:extLst>
              <a:ext uri="{FF2B5EF4-FFF2-40B4-BE49-F238E27FC236}">
                <a16:creationId xmlns:a16="http://schemas.microsoft.com/office/drawing/2014/main" id="{C9393F5E-421F-A241-A799-086E4783F295}"/>
              </a:ext>
            </a:extLst>
          </p:cNvPr>
          <p:cNvSpPr txBox="1"/>
          <p:nvPr/>
        </p:nvSpPr>
        <p:spPr>
          <a:xfrm>
            <a:off x="851574" y="1313727"/>
            <a:ext cx="46615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>
                <a:solidFill>
                  <a:schemeClr val="accent4"/>
                </a:solidFill>
                <a:cs typeface="Arial" pitchFamily="34" charset="0"/>
              </a:rPr>
              <a:t>Increase productivity per hour of craft work</a:t>
            </a:r>
          </a:p>
          <a:p>
            <a:pPr algn="ctr"/>
            <a:r>
              <a:rPr lang="en-US" altLang="ko-KR" sz="1400">
                <a:solidFill>
                  <a:schemeClr val="accent4"/>
                </a:solidFill>
                <a:cs typeface="Arial" pitchFamily="34" charset="0"/>
              </a:rPr>
              <a:t>with system solutions</a:t>
            </a:r>
          </a:p>
        </p:txBody>
      </p:sp>
      <p:pic>
        <p:nvPicPr>
          <p:cNvPr id="493" name="Picture 6">
            <a:extLst>
              <a:ext uri="{FF2B5EF4-FFF2-40B4-BE49-F238E27FC236}">
                <a16:creationId xmlns:a16="http://schemas.microsoft.com/office/drawing/2014/main" id="{B2210A8E-BBA7-AD61-418A-C0986798DF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6080" y="6168275"/>
            <a:ext cx="897019" cy="191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8" name="TextBox 497">
            <a:extLst>
              <a:ext uri="{FF2B5EF4-FFF2-40B4-BE49-F238E27FC236}">
                <a16:creationId xmlns:a16="http://schemas.microsoft.com/office/drawing/2014/main" id="{A72DE91F-EE21-6D5D-A7F4-9840175DDBD4}"/>
              </a:ext>
            </a:extLst>
          </p:cNvPr>
          <p:cNvSpPr txBox="1"/>
          <p:nvPr/>
        </p:nvSpPr>
        <p:spPr>
          <a:xfrm>
            <a:off x="3277892" y="2916460"/>
            <a:ext cx="151926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b="1">
                <a:solidFill>
                  <a:schemeClr val="accent4"/>
                </a:solidFill>
                <a:cs typeface="Arial" pitchFamily="34" charset="0"/>
              </a:rPr>
              <a:t>2. Work package solutions</a:t>
            </a:r>
            <a:endParaRPr lang="ko-KR" altLang="en-US" sz="1600" b="1">
              <a:solidFill>
                <a:schemeClr val="accent4"/>
              </a:solidFill>
              <a:cs typeface="Arial" pitchFamily="34" charset="0"/>
            </a:endParaRPr>
          </a:p>
        </p:txBody>
      </p:sp>
      <p:sp>
        <p:nvSpPr>
          <p:cNvPr id="499" name="TextBox 498">
            <a:extLst>
              <a:ext uri="{FF2B5EF4-FFF2-40B4-BE49-F238E27FC236}">
                <a16:creationId xmlns:a16="http://schemas.microsoft.com/office/drawing/2014/main" id="{F26027CC-705A-966A-29CB-9D5EC86CB61A}"/>
              </a:ext>
            </a:extLst>
          </p:cNvPr>
          <p:cNvSpPr txBox="1"/>
          <p:nvPr/>
        </p:nvSpPr>
        <p:spPr>
          <a:xfrm>
            <a:off x="3277892" y="2012806"/>
            <a:ext cx="1420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b="1">
                <a:solidFill>
                  <a:schemeClr val="accent4"/>
                </a:solidFill>
                <a:cs typeface="Arial" pitchFamily="34" charset="0"/>
              </a:rPr>
              <a:t>1. High performing tools</a:t>
            </a:r>
            <a:endParaRPr lang="ko-KR" altLang="en-US" sz="1600" b="1">
              <a:solidFill>
                <a:schemeClr val="accent4"/>
              </a:solidFill>
              <a:cs typeface="Arial" pitchFamily="34" charset="0"/>
            </a:endParaRPr>
          </a:p>
        </p:txBody>
      </p:sp>
      <p:pic>
        <p:nvPicPr>
          <p:cNvPr id="1026" name="Picture 2" descr="Fleet Management - Hilti Corporation">
            <a:extLst>
              <a:ext uri="{FF2B5EF4-FFF2-40B4-BE49-F238E27FC236}">
                <a16:creationId xmlns:a16="http://schemas.microsoft.com/office/drawing/2014/main" id="{34FF6BCB-C843-4CE2-CC7B-8024B03FD9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041"/>
          <a:stretch/>
        </p:blipFill>
        <p:spPr bwMode="auto">
          <a:xfrm>
            <a:off x="3119437" y="5926207"/>
            <a:ext cx="1096795" cy="581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3" name="Google Shape;668;p109">
            <a:extLst>
              <a:ext uri="{FF2B5EF4-FFF2-40B4-BE49-F238E27FC236}">
                <a16:creationId xmlns:a16="http://schemas.microsoft.com/office/drawing/2014/main" id="{E4E1DE9F-1132-E3E7-984B-7A30A4471F41}"/>
              </a:ext>
            </a:extLst>
          </p:cNvPr>
          <p:cNvSpPr txBox="1"/>
          <p:nvPr/>
        </p:nvSpPr>
        <p:spPr>
          <a:xfrm>
            <a:off x="1938498" y="749104"/>
            <a:ext cx="7464399" cy="276999"/>
          </a:xfrm>
          <a:prstGeom prst="rect">
            <a:avLst/>
          </a:prstGeom>
          <a:solidFill>
            <a:schemeClr val="bg1">
              <a:alpha val="75000"/>
            </a:schemeClr>
          </a:solidFill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sz="1600" b="1">
                <a:solidFill>
                  <a:schemeClr val="accent4"/>
                </a:solidFill>
                <a:cs typeface="Arial" pitchFamily="34" charset="0"/>
              </a:defRPr>
            </a:lvl1pPr>
          </a:lstStyle>
          <a:p>
            <a:r>
              <a:rPr lang="en-US" sz="1200">
                <a:sym typeface="Calibri"/>
              </a:rPr>
              <a:t>Only ~1/3 of a worker's day is spent performing the craft</a:t>
            </a:r>
          </a:p>
        </p:txBody>
      </p:sp>
      <p:sp>
        <p:nvSpPr>
          <p:cNvPr id="504" name="직사각형 54">
            <a:extLst>
              <a:ext uri="{FF2B5EF4-FFF2-40B4-BE49-F238E27FC236}">
                <a16:creationId xmlns:a16="http://schemas.microsoft.com/office/drawing/2014/main" id="{2B0A662A-675F-FAEA-77F6-14911F90F919}"/>
              </a:ext>
            </a:extLst>
          </p:cNvPr>
          <p:cNvSpPr/>
          <p:nvPr/>
        </p:nvSpPr>
        <p:spPr>
          <a:xfrm>
            <a:off x="6405680" y="3184343"/>
            <a:ext cx="2796455" cy="251762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1"/>
          </a:p>
        </p:txBody>
      </p:sp>
      <p:sp>
        <p:nvSpPr>
          <p:cNvPr id="508" name="직사각형 1">
            <a:extLst>
              <a:ext uri="{FF2B5EF4-FFF2-40B4-BE49-F238E27FC236}">
                <a16:creationId xmlns:a16="http://schemas.microsoft.com/office/drawing/2014/main" id="{3A1936F9-1C4E-844E-07C4-F76003662117}"/>
              </a:ext>
            </a:extLst>
          </p:cNvPr>
          <p:cNvSpPr/>
          <p:nvPr/>
        </p:nvSpPr>
        <p:spPr>
          <a:xfrm>
            <a:off x="6462943" y="1899302"/>
            <a:ext cx="2488361" cy="121268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1"/>
          </a:p>
        </p:txBody>
      </p:sp>
      <p:cxnSp>
        <p:nvCxnSpPr>
          <p:cNvPr id="274" name="Straight Arrow Connector 273">
            <a:extLst>
              <a:ext uri="{FF2B5EF4-FFF2-40B4-BE49-F238E27FC236}">
                <a16:creationId xmlns:a16="http://schemas.microsoft.com/office/drawing/2014/main" id="{66938580-C1EE-D2DD-9723-6FBB22E23FDB}"/>
              </a:ext>
            </a:extLst>
          </p:cNvPr>
          <p:cNvCxnSpPr>
            <a:cxnSpLocks/>
          </p:cNvCxnSpPr>
          <p:nvPr/>
        </p:nvCxnSpPr>
        <p:spPr>
          <a:xfrm>
            <a:off x="593581" y="4663670"/>
            <a:ext cx="2464363" cy="542"/>
          </a:xfrm>
          <a:prstGeom prst="straightConnector1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Arrow Connector 279">
            <a:extLst>
              <a:ext uri="{FF2B5EF4-FFF2-40B4-BE49-F238E27FC236}">
                <a16:creationId xmlns:a16="http://schemas.microsoft.com/office/drawing/2014/main" id="{4DF2933E-8BE2-5D69-141F-AE8445FF3F8D}"/>
              </a:ext>
            </a:extLst>
          </p:cNvPr>
          <p:cNvCxnSpPr>
            <a:cxnSpLocks/>
          </p:cNvCxnSpPr>
          <p:nvPr/>
        </p:nvCxnSpPr>
        <p:spPr>
          <a:xfrm flipV="1">
            <a:off x="3182337" y="3875723"/>
            <a:ext cx="2488360" cy="6352"/>
          </a:xfrm>
          <a:prstGeom prst="straightConnector1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Straight Arrow Connector 283">
            <a:extLst>
              <a:ext uri="{FF2B5EF4-FFF2-40B4-BE49-F238E27FC236}">
                <a16:creationId xmlns:a16="http://schemas.microsoft.com/office/drawing/2014/main" id="{05D88BD0-5E44-7051-35D8-E2516CDD782D}"/>
              </a:ext>
            </a:extLst>
          </p:cNvPr>
          <p:cNvCxnSpPr>
            <a:cxnSpLocks/>
          </p:cNvCxnSpPr>
          <p:nvPr/>
        </p:nvCxnSpPr>
        <p:spPr>
          <a:xfrm flipV="1">
            <a:off x="3048000" y="3875723"/>
            <a:ext cx="142874" cy="786276"/>
          </a:xfrm>
          <a:prstGeom prst="straightConnector1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FD781003-314B-4951-0A91-FAA317071A1A}"/>
              </a:ext>
            </a:extLst>
          </p:cNvPr>
          <p:cNvCxnSpPr>
            <a:cxnSpLocks/>
          </p:cNvCxnSpPr>
          <p:nvPr/>
        </p:nvCxnSpPr>
        <p:spPr>
          <a:xfrm>
            <a:off x="6405680" y="3184343"/>
            <a:ext cx="2488361" cy="0"/>
          </a:xfrm>
          <a:prstGeom prst="straightConnector1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736BECAE-B118-7C84-780B-9836A7AC6C9B}"/>
              </a:ext>
            </a:extLst>
          </p:cNvPr>
          <p:cNvCxnSpPr>
            <a:cxnSpLocks/>
          </p:cNvCxnSpPr>
          <p:nvPr/>
        </p:nvCxnSpPr>
        <p:spPr>
          <a:xfrm>
            <a:off x="9044765" y="1874292"/>
            <a:ext cx="2488361" cy="0"/>
          </a:xfrm>
          <a:prstGeom prst="straightConnector1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674464F8-269D-22E3-71A6-7D48C1D53987}"/>
              </a:ext>
            </a:extLst>
          </p:cNvPr>
          <p:cNvCxnSpPr>
            <a:cxnSpLocks/>
          </p:cNvCxnSpPr>
          <p:nvPr/>
        </p:nvCxnSpPr>
        <p:spPr>
          <a:xfrm flipV="1">
            <a:off x="8894041" y="1874291"/>
            <a:ext cx="150724" cy="1310051"/>
          </a:xfrm>
          <a:prstGeom prst="straightConnector1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93D9D284-48CB-6D97-6F4F-605677661E0C}"/>
              </a:ext>
            </a:extLst>
          </p:cNvPr>
          <p:cNvSpPr txBox="1"/>
          <p:nvPr/>
        </p:nvSpPr>
        <p:spPr>
          <a:xfrm>
            <a:off x="6208311" y="1260712"/>
            <a:ext cx="5522184" cy="523220"/>
          </a:xfrm>
          <a:prstGeom prst="rect">
            <a:avLst/>
          </a:prstGeom>
          <a:solidFill>
            <a:schemeClr val="bg1">
              <a:alpha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>
                <a:solidFill>
                  <a:schemeClr val="accent4"/>
                </a:solidFill>
                <a:cs typeface="Arial" pitchFamily="34" charset="0"/>
              </a:rPr>
              <a:t>Increase productive hours per worker</a:t>
            </a:r>
          </a:p>
          <a:p>
            <a:pPr algn="ctr"/>
            <a:r>
              <a:rPr lang="en-US" altLang="ko-KR" sz="1400">
                <a:solidFill>
                  <a:schemeClr val="accent4"/>
                </a:solidFill>
                <a:cs typeface="Arial" pitchFamily="34" charset="0"/>
              </a:rPr>
              <a:t>by digitizing processes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5434C153-538F-C507-798F-A61510226C54}"/>
              </a:ext>
            </a:extLst>
          </p:cNvPr>
          <p:cNvSpPr txBox="1"/>
          <p:nvPr/>
        </p:nvSpPr>
        <p:spPr>
          <a:xfrm>
            <a:off x="9061890" y="2141237"/>
            <a:ext cx="149609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b="1" dirty="0">
                <a:solidFill>
                  <a:schemeClr val="accent4"/>
                </a:solidFill>
                <a:cs typeface="Arial" pitchFamily="34" charset="0"/>
              </a:rPr>
              <a:t>3. Jobsite Management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4B3B474D-A3C2-683F-1867-15C76D2DBBF9}"/>
              </a:ext>
            </a:extLst>
          </p:cNvPr>
          <p:cNvSpPr txBox="1"/>
          <p:nvPr/>
        </p:nvSpPr>
        <p:spPr>
          <a:xfrm>
            <a:off x="9061890" y="2815788"/>
            <a:ext cx="149609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b="1" dirty="0">
                <a:solidFill>
                  <a:schemeClr val="accent4"/>
                </a:solidFill>
                <a:cs typeface="Arial" pitchFamily="34" charset="0"/>
              </a:rPr>
              <a:t>4. Resource Management</a:t>
            </a:r>
            <a:endParaRPr lang="ko-KR" altLang="en-US" sz="1600" b="1" dirty="0">
              <a:solidFill>
                <a:schemeClr val="accent4"/>
              </a:solidFill>
              <a:cs typeface="Arial" pitchFamily="34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288EA654-885B-ABE1-005F-8B6DF233E50C}"/>
              </a:ext>
            </a:extLst>
          </p:cNvPr>
          <p:cNvSpPr txBox="1"/>
          <p:nvPr/>
        </p:nvSpPr>
        <p:spPr>
          <a:xfrm>
            <a:off x="9060238" y="3578187"/>
            <a:ext cx="17304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b="1" dirty="0">
                <a:solidFill>
                  <a:schemeClr val="accent4"/>
                </a:solidFill>
                <a:cs typeface="Arial" pitchFamily="34" charset="0"/>
              </a:rPr>
              <a:t>5. VDC &amp; Pre-fabrication</a:t>
            </a:r>
            <a:endParaRPr lang="ko-KR" altLang="en-US" sz="1600" b="1" dirty="0">
              <a:solidFill>
                <a:schemeClr val="accent4"/>
              </a:solidFill>
              <a:cs typeface="Arial" pitchFamily="34" charset="0"/>
            </a:endParaRPr>
          </a:p>
        </p:txBody>
      </p:sp>
      <p:pic>
        <p:nvPicPr>
          <p:cNvPr id="89" name="Picture 88">
            <a:extLst>
              <a:ext uri="{FF2B5EF4-FFF2-40B4-BE49-F238E27FC236}">
                <a16:creationId xmlns:a16="http://schemas.microsoft.com/office/drawing/2014/main" id="{0C72E38A-F9C9-CFA9-C004-37CBADBBA669}"/>
              </a:ext>
            </a:extLst>
          </p:cNvPr>
          <p:cNvPicPr>
            <a:picLocks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33898" y="2670756"/>
            <a:ext cx="1115568" cy="2752344"/>
          </a:xfrm>
          <a:prstGeom prst="rect">
            <a:avLst/>
          </a:prstGeom>
        </p:spPr>
      </p:pic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1C17C76F-AF3F-4571-4B75-0BA6B916B722}"/>
              </a:ext>
            </a:extLst>
          </p:cNvPr>
          <p:cNvCxnSpPr>
            <a:cxnSpLocks/>
          </p:cNvCxnSpPr>
          <p:nvPr/>
        </p:nvCxnSpPr>
        <p:spPr>
          <a:xfrm flipV="1">
            <a:off x="5663405" y="3184341"/>
            <a:ext cx="750812" cy="690432"/>
          </a:xfrm>
          <a:prstGeom prst="straightConnector1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4" name="직사각형 54">
            <a:extLst>
              <a:ext uri="{FF2B5EF4-FFF2-40B4-BE49-F238E27FC236}">
                <a16:creationId xmlns:a16="http://schemas.microsoft.com/office/drawing/2014/main" id="{57AB0804-A5E0-82DD-9A24-C1EABFD323EB}"/>
              </a:ext>
            </a:extLst>
          </p:cNvPr>
          <p:cNvSpPr/>
          <p:nvPr/>
        </p:nvSpPr>
        <p:spPr>
          <a:xfrm>
            <a:off x="7845317" y="4670621"/>
            <a:ext cx="2488361" cy="102901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1"/>
          </a:p>
        </p:txBody>
      </p:sp>
      <p:pic>
        <p:nvPicPr>
          <p:cNvPr id="1040" name="Picture 1039">
            <a:extLst>
              <a:ext uri="{FF2B5EF4-FFF2-40B4-BE49-F238E27FC236}">
                <a16:creationId xmlns:a16="http://schemas.microsoft.com/office/drawing/2014/main" id="{55E861DD-AEF9-17C9-CA3F-2575E9BDC39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flipH="1">
            <a:off x="10407553" y="2649790"/>
            <a:ext cx="1140632" cy="3016748"/>
          </a:xfrm>
          <a:prstGeom prst="rect">
            <a:avLst/>
          </a:prstGeom>
        </p:spPr>
      </p:pic>
      <p:pic>
        <p:nvPicPr>
          <p:cNvPr id="1041" name="Picture 1040">
            <a:extLst>
              <a:ext uri="{FF2B5EF4-FFF2-40B4-BE49-F238E27FC236}">
                <a16:creationId xmlns:a16="http://schemas.microsoft.com/office/drawing/2014/main" id="{1684830C-0BF8-4E77-276D-22611FA6F10C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18660"/>
          <a:stretch/>
        </p:blipFill>
        <p:spPr>
          <a:xfrm>
            <a:off x="6427432" y="3184342"/>
            <a:ext cx="1129334" cy="2238758"/>
          </a:xfrm>
          <a:prstGeom prst="rect">
            <a:avLst/>
          </a:prstGeom>
        </p:spPr>
      </p:pic>
      <p:sp>
        <p:nvSpPr>
          <p:cNvPr id="489" name="TextBox 488">
            <a:extLst>
              <a:ext uri="{FF2B5EF4-FFF2-40B4-BE49-F238E27FC236}">
                <a16:creationId xmlns:a16="http://schemas.microsoft.com/office/drawing/2014/main" id="{C679FF18-1316-C06D-AA7E-A19814756F38}"/>
              </a:ext>
            </a:extLst>
          </p:cNvPr>
          <p:cNvSpPr txBox="1"/>
          <p:nvPr/>
        </p:nvSpPr>
        <p:spPr>
          <a:xfrm>
            <a:off x="654838" y="2003434"/>
            <a:ext cx="154206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Productive work</a:t>
            </a:r>
            <a:endParaRPr lang="ko-KR" altLang="en-US" sz="2000" b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1050" name="Google Shape;670;p109">
            <a:extLst>
              <a:ext uri="{FF2B5EF4-FFF2-40B4-BE49-F238E27FC236}">
                <a16:creationId xmlns:a16="http://schemas.microsoft.com/office/drawing/2014/main" id="{49EBF51D-9639-A744-E776-5278FFE30FBD}"/>
              </a:ext>
            </a:extLst>
          </p:cNvPr>
          <p:cNvSpPr txBox="1"/>
          <p:nvPr/>
        </p:nvSpPr>
        <p:spPr>
          <a:xfrm>
            <a:off x="617161" y="2593349"/>
            <a:ext cx="1343150" cy="7386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marL="0" indent="0" defTabSz="1219170">
              <a:spcBef>
                <a:spcPts val="0"/>
              </a:spcBef>
              <a:buClr>
                <a:srgbClr val="000000"/>
              </a:buClr>
              <a:buNone/>
            </a:pPr>
            <a:r>
              <a:rPr lang="en-US" sz="4000" b="1" kern="0" dirty="0">
                <a:solidFill>
                  <a:schemeClr val="accent1"/>
                </a:solidFill>
                <a:latin typeface="+mj-lt"/>
                <a:ea typeface="Calibri"/>
                <a:cs typeface="Calibri"/>
                <a:sym typeface="Calibri"/>
              </a:rPr>
              <a:t>30%</a:t>
            </a:r>
          </a:p>
        </p:txBody>
      </p:sp>
      <p:pic>
        <p:nvPicPr>
          <p:cNvPr id="1052" name="Picture 4" descr="FIELDWIRE Gestão de cumprimento e documentação de obra By Hilti">
            <a:extLst>
              <a:ext uri="{FF2B5EF4-FFF2-40B4-BE49-F238E27FC236}">
                <a16:creationId xmlns:a16="http://schemas.microsoft.com/office/drawing/2014/main" id="{946B3C36-2B93-17C4-BB66-1D8C3D6689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1905" b="97619" l="10000" r="91548">
                        <a14:foregroundMark x1="51071" y1="6349" x2="38929" y2="8571"/>
                        <a14:foregroundMark x1="48095" y1="2063" x2="48095" y2="2063"/>
                        <a14:foregroundMark x1="10952" y1="73016" x2="10952" y2="73016"/>
                        <a14:foregroundMark x1="19524" y1="76032" x2="19524" y2="76032"/>
                        <a14:foregroundMark x1="26190" y1="73016" x2="26190" y2="73016"/>
                        <a14:foregroundMark x1="34643" y1="74444" x2="34643" y2="74444"/>
                        <a14:foregroundMark x1="44881" y1="71746" x2="44881" y2="71746"/>
                        <a14:foregroundMark x1="57619" y1="78095" x2="57619" y2="78095"/>
                        <a14:foregroundMark x1="69643" y1="76190" x2="69643" y2="76190"/>
                        <a14:foregroundMark x1="78571" y1="73175" x2="78571" y2="73175"/>
                        <a14:foregroundMark x1="86905" y1="72381" x2="86905" y2="72381"/>
                        <a14:foregroundMark x1="76905" y1="92063" x2="76905" y2="92063"/>
                        <a14:foregroundMark x1="65952" y1="91905" x2="65952" y2="91905"/>
                        <a14:foregroundMark x1="63810" y1="91905" x2="79524" y2="89048"/>
                        <a14:foregroundMark x1="3452" y1="94286" x2="38929" y2="97143"/>
                        <a14:foregroundMark x1="38929" y1="97143" x2="91548" y2="92540"/>
                        <a14:foregroundMark x1="81310" y1="94762" x2="72262" y2="97302"/>
                        <a14:foregroundMark x1="72262" y1="97302" x2="83690" y2="95238"/>
                        <a14:foregroundMark x1="83690" y1="95238" x2="34048" y2="92381"/>
                        <a14:foregroundMark x1="34048" y1="92381" x2="75595" y2="9761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1321"/>
          <a:stretch/>
        </p:blipFill>
        <p:spPr bwMode="auto">
          <a:xfrm>
            <a:off x="5857194" y="5874980"/>
            <a:ext cx="1039944" cy="691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3" name="Picture 1052">
            <a:hlinkClick r:id="" action="ppaction://noaction"/>
            <a:extLst>
              <a:ext uri="{FF2B5EF4-FFF2-40B4-BE49-F238E27FC236}">
                <a16:creationId xmlns:a16="http://schemas.microsoft.com/office/drawing/2014/main" id="{9BB4665A-36C2-BF8C-991D-285C21F69F4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4061" y="6165632"/>
            <a:ext cx="1435930" cy="193218"/>
          </a:xfrm>
          <a:prstGeom prst="rect">
            <a:avLst/>
          </a:prstGeom>
        </p:spPr>
      </p:pic>
      <p:sp>
        <p:nvSpPr>
          <p:cNvPr id="1176" name="TextBox 1175">
            <a:extLst>
              <a:ext uri="{FF2B5EF4-FFF2-40B4-BE49-F238E27FC236}">
                <a16:creationId xmlns:a16="http://schemas.microsoft.com/office/drawing/2014/main" id="{CDBCDC7A-5DD4-838F-7757-52D3A0654097}"/>
              </a:ext>
            </a:extLst>
          </p:cNvPr>
          <p:cNvSpPr txBox="1"/>
          <p:nvPr/>
        </p:nvSpPr>
        <p:spPr>
          <a:xfrm>
            <a:off x="8243245" y="4993707"/>
            <a:ext cx="3176322" cy="5539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>
            <a:defPPr>
              <a:defRPr lang="de-DE"/>
            </a:defPPr>
            <a:lvl1pPr indent="0">
              <a:spcBef>
                <a:spcPts val="0"/>
              </a:spcBef>
              <a:buClr>
                <a:srgbClr val="000000"/>
              </a:buClr>
              <a:buNone/>
              <a:defRPr sz="4800" b="1" kern="0">
                <a:solidFill>
                  <a:schemeClr val="accent1"/>
                </a:solidFill>
                <a:latin typeface="+mj-lt"/>
                <a:ea typeface="Calibri"/>
                <a:cs typeface="Calibri"/>
              </a:defRPr>
            </a:lvl1pPr>
          </a:lstStyle>
          <a:p>
            <a:r>
              <a:rPr lang="en-US" sz="2800">
                <a:sym typeface="Calibri"/>
              </a:rPr>
              <a:t>up to 2x</a:t>
            </a:r>
            <a:endParaRPr lang="en-US" sz="2800"/>
          </a:p>
        </p:txBody>
      </p:sp>
      <p:sp>
        <p:nvSpPr>
          <p:cNvPr id="1182" name="Google Shape;668;p109">
            <a:extLst>
              <a:ext uri="{FF2B5EF4-FFF2-40B4-BE49-F238E27FC236}">
                <a16:creationId xmlns:a16="http://schemas.microsoft.com/office/drawing/2014/main" id="{BACD6C2F-CA65-0B16-BAA4-0C66F78AA1FB}"/>
              </a:ext>
            </a:extLst>
          </p:cNvPr>
          <p:cNvSpPr txBox="1"/>
          <p:nvPr/>
        </p:nvSpPr>
        <p:spPr>
          <a:xfrm>
            <a:off x="7681753" y="4364527"/>
            <a:ext cx="1374559" cy="738609"/>
          </a:xfrm>
          <a:prstGeom prst="rect">
            <a:avLst/>
          </a:prstGeom>
          <a:ln>
            <a:noFill/>
          </a:ln>
          <a:effectLst/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marL="0" indent="0" defTabSz="1219170">
              <a:lnSpc>
                <a:spcPts val="1600"/>
              </a:lnSpc>
              <a:spcBef>
                <a:spcPts val="0"/>
              </a:spcBef>
              <a:buClr>
                <a:srgbClr val="000000"/>
              </a:buClr>
              <a:buNone/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  <a:sym typeface="Calibri"/>
              </a:rPr>
              <a:t>Increase production per hour by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29D2D37F-297C-D4DC-04C9-D3BB7004D8E0}"/>
              </a:ext>
            </a:extLst>
          </p:cNvPr>
          <p:cNvSpPr/>
          <p:nvPr/>
        </p:nvSpPr>
        <p:spPr>
          <a:xfrm>
            <a:off x="8896350" y="1873250"/>
            <a:ext cx="184150" cy="1314450"/>
          </a:xfrm>
          <a:custGeom>
            <a:avLst/>
            <a:gdLst>
              <a:gd name="connsiteX0" fmla="*/ 0 w 184150"/>
              <a:gd name="connsiteY0" fmla="*/ 1311275 h 1314450"/>
              <a:gd name="connsiteX1" fmla="*/ 152400 w 184150"/>
              <a:gd name="connsiteY1" fmla="*/ 0 h 1314450"/>
              <a:gd name="connsiteX2" fmla="*/ 184150 w 184150"/>
              <a:gd name="connsiteY2" fmla="*/ 6350 h 1314450"/>
              <a:gd name="connsiteX3" fmla="*/ 180975 w 184150"/>
              <a:gd name="connsiteY3" fmla="*/ 1314450 h 1314450"/>
              <a:gd name="connsiteX4" fmla="*/ 0 w 184150"/>
              <a:gd name="connsiteY4" fmla="*/ 1311275 h 1314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4150" h="1314450">
                <a:moveTo>
                  <a:pt x="0" y="1311275"/>
                </a:moveTo>
                <a:lnTo>
                  <a:pt x="152400" y="0"/>
                </a:lnTo>
                <a:lnTo>
                  <a:pt x="184150" y="6350"/>
                </a:lnTo>
                <a:cubicBezTo>
                  <a:pt x="183092" y="442383"/>
                  <a:pt x="182033" y="878417"/>
                  <a:pt x="180975" y="1314450"/>
                </a:cubicBezTo>
                <a:lnTo>
                  <a:pt x="0" y="1311275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52304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54">
            <a:extLst>
              <a:ext uri="{FF2B5EF4-FFF2-40B4-BE49-F238E27FC236}">
                <a16:creationId xmlns:a16="http://schemas.microsoft.com/office/drawing/2014/main" id="{58982B0D-21CA-DE06-763B-7C02EFFB7848}"/>
              </a:ext>
            </a:extLst>
          </p:cNvPr>
          <p:cNvSpPr/>
          <p:nvPr/>
        </p:nvSpPr>
        <p:spPr>
          <a:xfrm>
            <a:off x="6699485" y="1882225"/>
            <a:ext cx="4855055" cy="381973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1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EC1092-08D3-47DC-B896-CE12910572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2EC1092-08D3-47DC-B896-CE12910572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4" name="Title 1">
            <a:extLst>
              <a:ext uri="{FF2B5EF4-FFF2-40B4-BE49-F238E27FC236}">
                <a16:creationId xmlns:a16="http://schemas.microsoft.com/office/drawing/2014/main" id="{29604F11-503B-47B8-8F27-EBBD69138C0D}"/>
              </a:ext>
            </a:extLst>
          </p:cNvPr>
          <p:cNvSpPr txBox="1">
            <a:spLocks/>
          </p:cNvSpPr>
          <p:nvPr/>
        </p:nvSpPr>
        <p:spPr>
          <a:xfrm>
            <a:off x="407988" y="333000"/>
            <a:ext cx="11376025" cy="792538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lnSpc>
                <a:spcPts val="3270"/>
              </a:lnSpc>
              <a:spcBef>
                <a:spcPct val="0"/>
              </a:spcBef>
              <a:buNone/>
              <a:defRPr sz="30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five big opportunities to increase</a:t>
            </a:r>
            <a:r>
              <a:rPr lang="en-US" b="1"/>
              <a:t> productivity</a:t>
            </a: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061D004-65A9-FE75-313F-8D51DD971011}"/>
              </a:ext>
            </a:extLst>
          </p:cNvPr>
          <p:cNvSpPr txBox="1">
            <a:spLocks/>
          </p:cNvSpPr>
          <p:nvPr/>
        </p:nvSpPr>
        <p:spPr bwMode="gray">
          <a:xfrm>
            <a:off x="11405738" y="6442034"/>
            <a:ext cx="504056" cy="186884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4178FD-43BF-4968-A299-3450DC0CDF97}" type="slidenum">
              <a:rPr lang="en-US" sz="1200" smtClean="0"/>
              <a:pPr/>
              <a:t>5</a:t>
            </a:fld>
            <a:endParaRPr lang="en-US" sz="1200"/>
          </a:p>
        </p:txBody>
      </p:sp>
      <p:sp>
        <p:nvSpPr>
          <p:cNvPr id="34" name="직사각형 54">
            <a:extLst>
              <a:ext uri="{FF2B5EF4-FFF2-40B4-BE49-F238E27FC236}">
                <a16:creationId xmlns:a16="http://schemas.microsoft.com/office/drawing/2014/main" id="{9F59E50F-D8C0-08A9-DA32-BF9FD35DC627}"/>
              </a:ext>
            </a:extLst>
          </p:cNvPr>
          <p:cNvSpPr/>
          <p:nvPr/>
        </p:nvSpPr>
        <p:spPr>
          <a:xfrm>
            <a:off x="593581" y="4656969"/>
            <a:ext cx="2488361" cy="102901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1"/>
          </a:p>
        </p:txBody>
      </p:sp>
      <p:sp>
        <p:nvSpPr>
          <p:cNvPr id="35" name="직사각형 1">
            <a:extLst>
              <a:ext uri="{FF2B5EF4-FFF2-40B4-BE49-F238E27FC236}">
                <a16:creationId xmlns:a16="http://schemas.microsoft.com/office/drawing/2014/main" id="{CC9FF0AD-8CE4-1B4C-A7C1-EE6FC226F53A}"/>
              </a:ext>
            </a:extLst>
          </p:cNvPr>
          <p:cNvSpPr/>
          <p:nvPr/>
        </p:nvSpPr>
        <p:spPr>
          <a:xfrm>
            <a:off x="573816" y="1875241"/>
            <a:ext cx="2488361" cy="275424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1"/>
          </a:p>
        </p:txBody>
      </p:sp>
      <p:sp>
        <p:nvSpPr>
          <p:cNvPr id="45" name="직사각형 54">
            <a:extLst>
              <a:ext uri="{FF2B5EF4-FFF2-40B4-BE49-F238E27FC236}">
                <a16:creationId xmlns:a16="http://schemas.microsoft.com/office/drawing/2014/main" id="{4C761CD1-8816-AB25-CEA6-417F0BC345AF}"/>
              </a:ext>
            </a:extLst>
          </p:cNvPr>
          <p:cNvSpPr/>
          <p:nvPr/>
        </p:nvSpPr>
        <p:spPr>
          <a:xfrm>
            <a:off x="3182337" y="3883025"/>
            <a:ext cx="2488361" cy="180930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1"/>
          </a:p>
        </p:txBody>
      </p:sp>
      <p:sp>
        <p:nvSpPr>
          <p:cNvPr id="46" name="직사각형 1">
            <a:extLst>
              <a:ext uri="{FF2B5EF4-FFF2-40B4-BE49-F238E27FC236}">
                <a16:creationId xmlns:a16="http://schemas.microsoft.com/office/drawing/2014/main" id="{4E080749-46A4-65B0-FBCB-EBA77EAF00E3}"/>
              </a:ext>
            </a:extLst>
          </p:cNvPr>
          <p:cNvSpPr/>
          <p:nvPr/>
        </p:nvSpPr>
        <p:spPr>
          <a:xfrm>
            <a:off x="3182337" y="1875241"/>
            <a:ext cx="2488361" cy="196523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1"/>
          </a:p>
        </p:txBody>
      </p:sp>
      <p:pic>
        <p:nvPicPr>
          <p:cNvPr id="480" name="Picture 479">
            <a:extLst>
              <a:ext uri="{FF2B5EF4-FFF2-40B4-BE49-F238E27FC236}">
                <a16:creationId xmlns:a16="http://schemas.microsoft.com/office/drawing/2014/main" id="{3B534F7E-4B94-3FB1-0411-CA3187990FC2}"/>
              </a:ext>
            </a:extLst>
          </p:cNvPr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4526085" y="2670756"/>
            <a:ext cx="1115568" cy="2834640"/>
          </a:xfrm>
          <a:prstGeom prst="rect">
            <a:avLst/>
          </a:prstGeom>
        </p:spPr>
      </p:pic>
      <p:grpSp>
        <p:nvGrpSpPr>
          <p:cNvPr id="482" name="Group 481">
            <a:extLst>
              <a:ext uri="{FF2B5EF4-FFF2-40B4-BE49-F238E27FC236}">
                <a16:creationId xmlns:a16="http://schemas.microsoft.com/office/drawing/2014/main" id="{2342C653-1C0A-A98A-03CA-8BE8A013A36C}"/>
              </a:ext>
            </a:extLst>
          </p:cNvPr>
          <p:cNvGrpSpPr/>
          <p:nvPr/>
        </p:nvGrpSpPr>
        <p:grpSpPr>
          <a:xfrm>
            <a:off x="1904699" y="2709633"/>
            <a:ext cx="1115568" cy="2834640"/>
            <a:chOff x="3226110" y="2286618"/>
            <a:chExt cx="1645249" cy="4063822"/>
          </a:xfrm>
        </p:grpSpPr>
        <p:grpSp>
          <p:nvGrpSpPr>
            <p:cNvPr id="483" name="Group 482">
              <a:extLst>
                <a:ext uri="{FF2B5EF4-FFF2-40B4-BE49-F238E27FC236}">
                  <a16:creationId xmlns:a16="http://schemas.microsoft.com/office/drawing/2014/main" id="{482B344D-DFE9-36D9-93A6-830F280D9BC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227238" y="2286618"/>
              <a:ext cx="1644121" cy="4058504"/>
              <a:chOff x="5011560" y="-2667986"/>
              <a:chExt cx="3720960" cy="9185168"/>
            </a:xfrm>
          </p:grpSpPr>
          <p:pic>
            <p:nvPicPr>
              <p:cNvPr id="485" name="Picture 484">
                <a:extLst>
                  <a:ext uri="{FF2B5EF4-FFF2-40B4-BE49-F238E27FC236}">
                    <a16:creationId xmlns:a16="http://schemas.microsoft.com/office/drawing/2014/main" id="{0F3F1799-4087-27EF-19D3-A7782BB9D1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clrChange>
                  <a:clrFrom>
                    <a:srgbClr val="671C3E"/>
                  </a:clrFrom>
                  <a:clrTo>
                    <a:srgbClr val="671C3E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011560" y="-2667986"/>
                <a:ext cx="3720960" cy="9185168"/>
              </a:xfrm>
              <a:prstGeom prst="rect">
                <a:avLst/>
              </a:prstGeom>
            </p:spPr>
          </p:pic>
          <p:sp>
            <p:nvSpPr>
              <p:cNvPr id="486" name="Rectangle 485">
                <a:extLst>
                  <a:ext uri="{FF2B5EF4-FFF2-40B4-BE49-F238E27FC236}">
                    <a16:creationId xmlns:a16="http://schemas.microsoft.com/office/drawing/2014/main" id="{527BF7FF-6F6A-F1B8-DA73-02ED24F6EEA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42990" y="3628390"/>
                <a:ext cx="676656" cy="48260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87" name="Rectangle 486">
                <a:extLst>
                  <a:ext uri="{FF2B5EF4-FFF2-40B4-BE49-F238E27FC236}">
                    <a16:creationId xmlns:a16="http://schemas.microsoft.com/office/drawing/2014/main" id="{67F70F0F-09E0-5777-C809-9DBF1DD0FEB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336790" y="3628390"/>
                <a:ext cx="667512" cy="48260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484" name="Picture 483">
              <a:extLst>
                <a:ext uri="{FF2B5EF4-FFF2-40B4-BE49-F238E27FC236}">
                  <a16:creationId xmlns:a16="http://schemas.microsoft.com/office/drawing/2014/main" id="{6B71F222-3786-A1A3-570D-F249675E57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8835"/>
            <a:stretch/>
          </p:blipFill>
          <p:spPr>
            <a:xfrm>
              <a:off x="3226110" y="5085587"/>
              <a:ext cx="1644121" cy="1264853"/>
            </a:xfrm>
            <a:prstGeom prst="rect">
              <a:avLst/>
            </a:prstGeom>
          </p:spPr>
        </p:pic>
      </p:grpSp>
      <p:sp>
        <p:nvSpPr>
          <p:cNvPr id="490" name="TextBox 489">
            <a:extLst>
              <a:ext uri="{FF2B5EF4-FFF2-40B4-BE49-F238E27FC236}">
                <a16:creationId xmlns:a16="http://schemas.microsoft.com/office/drawing/2014/main" id="{C9393F5E-421F-A241-A799-086E4783F295}"/>
              </a:ext>
            </a:extLst>
          </p:cNvPr>
          <p:cNvSpPr txBox="1"/>
          <p:nvPr/>
        </p:nvSpPr>
        <p:spPr>
          <a:xfrm>
            <a:off x="851574" y="1313727"/>
            <a:ext cx="46615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>
                <a:solidFill>
                  <a:schemeClr val="accent4"/>
                </a:solidFill>
                <a:cs typeface="Arial" pitchFamily="34" charset="0"/>
              </a:rPr>
              <a:t>Increase productivity per hour of craft work</a:t>
            </a:r>
          </a:p>
          <a:p>
            <a:pPr algn="ctr"/>
            <a:r>
              <a:rPr lang="en-US" altLang="ko-KR" sz="1400">
                <a:solidFill>
                  <a:schemeClr val="accent4"/>
                </a:solidFill>
                <a:cs typeface="Arial" pitchFamily="34" charset="0"/>
              </a:rPr>
              <a:t>with system solutions</a:t>
            </a:r>
          </a:p>
        </p:txBody>
      </p:sp>
      <p:sp>
        <p:nvSpPr>
          <p:cNvPr id="498" name="TextBox 497">
            <a:extLst>
              <a:ext uri="{FF2B5EF4-FFF2-40B4-BE49-F238E27FC236}">
                <a16:creationId xmlns:a16="http://schemas.microsoft.com/office/drawing/2014/main" id="{A72DE91F-EE21-6D5D-A7F4-9840175DDBD4}"/>
              </a:ext>
            </a:extLst>
          </p:cNvPr>
          <p:cNvSpPr txBox="1"/>
          <p:nvPr/>
        </p:nvSpPr>
        <p:spPr>
          <a:xfrm>
            <a:off x="3277892" y="2916460"/>
            <a:ext cx="151926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b="1">
                <a:solidFill>
                  <a:schemeClr val="accent4"/>
                </a:solidFill>
                <a:cs typeface="Arial" pitchFamily="34" charset="0"/>
              </a:rPr>
              <a:t>2. Work package solutions</a:t>
            </a:r>
            <a:endParaRPr lang="ko-KR" altLang="en-US" sz="1600" b="1">
              <a:solidFill>
                <a:schemeClr val="accent4"/>
              </a:solidFill>
              <a:cs typeface="Arial" pitchFamily="34" charset="0"/>
            </a:endParaRPr>
          </a:p>
        </p:txBody>
      </p:sp>
      <p:sp>
        <p:nvSpPr>
          <p:cNvPr id="499" name="TextBox 498">
            <a:extLst>
              <a:ext uri="{FF2B5EF4-FFF2-40B4-BE49-F238E27FC236}">
                <a16:creationId xmlns:a16="http://schemas.microsoft.com/office/drawing/2014/main" id="{F26027CC-705A-966A-29CB-9D5EC86CB61A}"/>
              </a:ext>
            </a:extLst>
          </p:cNvPr>
          <p:cNvSpPr txBox="1"/>
          <p:nvPr/>
        </p:nvSpPr>
        <p:spPr>
          <a:xfrm>
            <a:off x="3277892" y="2012806"/>
            <a:ext cx="1420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b="1">
                <a:solidFill>
                  <a:schemeClr val="accent4"/>
                </a:solidFill>
                <a:cs typeface="Arial" pitchFamily="34" charset="0"/>
              </a:rPr>
              <a:t>1. High performing tools</a:t>
            </a:r>
            <a:endParaRPr lang="ko-KR" altLang="en-US" sz="1600" b="1">
              <a:solidFill>
                <a:schemeClr val="accent4"/>
              </a:solidFill>
              <a:cs typeface="Arial" pitchFamily="34" charset="0"/>
            </a:endParaRPr>
          </a:p>
        </p:txBody>
      </p:sp>
      <p:sp>
        <p:nvSpPr>
          <p:cNvPr id="503" name="Google Shape;668;p109">
            <a:extLst>
              <a:ext uri="{FF2B5EF4-FFF2-40B4-BE49-F238E27FC236}">
                <a16:creationId xmlns:a16="http://schemas.microsoft.com/office/drawing/2014/main" id="{E4E1DE9F-1132-E3E7-984B-7A30A4471F41}"/>
              </a:ext>
            </a:extLst>
          </p:cNvPr>
          <p:cNvSpPr txBox="1"/>
          <p:nvPr/>
        </p:nvSpPr>
        <p:spPr>
          <a:xfrm>
            <a:off x="1938498" y="749104"/>
            <a:ext cx="7464399" cy="276999"/>
          </a:xfrm>
          <a:prstGeom prst="rect">
            <a:avLst/>
          </a:prstGeom>
          <a:solidFill>
            <a:schemeClr val="bg1">
              <a:alpha val="75000"/>
            </a:schemeClr>
          </a:solidFill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sz="1600" b="1">
                <a:solidFill>
                  <a:schemeClr val="accent4"/>
                </a:solidFill>
                <a:cs typeface="Arial" pitchFamily="34" charset="0"/>
              </a:defRPr>
            </a:lvl1pPr>
          </a:lstStyle>
          <a:p>
            <a:r>
              <a:rPr lang="en-US" sz="1200">
                <a:sym typeface="Calibri"/>
              </a:rPr>
              <a:t>Only ~1/3 of a worker's day is spent performing the craft</a:t>
            </a:r>
          </a:p>
        </p:txBody>
      </p:sp>
      <p:cxnSp>
        <p:nvCxnSpPr>
          <p:cNvPr id="274" name="Straight Arrow Connector 273">
            <a:extLst>
              <a:ext uri="{FF2B5EF4-FFF2-40B4-BE49-F238E27FC236}">
                <a16:creationId xmlns:a16="http://schemas.microsoft.com/office/drawing/2014/main" id="{66938580-C1EE-D2DD-9723-6FBB22E23FDB}"/>
              </a:ext>
            </a:extLst>
          </p:cNvPr>
          <p:cNvCxnSpPr>
            <a:cxnSpLocks/>
          </p:cNvCxnSpPr>
          <p:nvPr/>
        </p:nvCxnSpPr>
        <p:spPr>
          <a:xfrm>
            <a:off x="593581" y="4663670"/>
            <a:ext cx="2464363" cy="542"/>
          </a:xfrm>
          <a:prstGeom prst="straightConnector1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Arrow Connector 279">
            <a:extLst>
              <a:ext uri="{FF2B5EF4-FFF2-40B4-BE49-F238E27FC236}">
                <a16:creationId xmlns:a16="http://schemas.microsoft.com/office/drawing/2014/main" id="{4DF2933E-8BE2-5D69-141F-AE8445FF3F8D}"/>
              </a:ext>
            </a:extLst>
          </p:cNvPr>
          <p:cNvCxnSpPr>
            <a:cxnSpLocks/>
          </p:cNvCxnSpPr>
          <p:nvPr/>
        </p:nvCxnSpPr>
        <p:spPr>
          <a:xfrm flipV="1">
            <a:off x="3182337" y="3875723"/>
            <a:ext cx="2488360" cy="6352"/>
          </a:xfrm>
          <a:prstGeom prst="straightConnector1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Straight Arrow Connector 283">
            <a:extLst>
              <a:ext uri="{FF2B5EF4-FFF2-40B4-BE49-F238E27FC236}">
                <a16:creationId xmlns:a16="http://schemas.microsoft.com/office/drawing/2014/main" id="{05D88BD0-5E44-7051-35D8-E2516CDD782D}"/>
              </a:ext>
            </a:extLst>
          </p:cNvPr>
          <p:cNvCxnSpPr>
            <a:cxnSpLocks/>
          </p:cNvCxnSpPr>
          <p:nvPr/>
        </p:nvCxnSpPr>
        <p:spPr>
          <a:xfrm flipV="1">
            <a:off x="3048000" y="3875723"/>
            <a:ext cx="142874" cy="786276"/>
          </a:xfrm>
          <a:prstGeom prst="straightConnector1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93D9D284-48CB-6D97-6F4F-605677661E0C}"/>
              </a:ext>
            </a:extLst>
          </p:cNvPr>
          <p:cNvSpPr txBox="1"/>
          <p:nvPr/>
        </p:nvSpPr>
        <p:spPr>
          <a:xfrm>
            <a:off x="6208311" y="1260712"/>
            <a:ext cx="5522184" cy="523220"/>
          </a:xfrm>
          <a:prstGeom prst="rect">
            <a:avLst/>
          </a:prstGeom>
          <a:solidFill>
            <a:schemeClr val="bg1">
              <a:alpha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>
                <a:solidFill>
                  <a:schemeClr val="accent4"/>
                </a:solidFill>
                <a:cs typeface="Arial" pitchFamily="34" charset="0"/>
              </a:rPr>
              <a:t>Increase productive hours per worker</a:t>
            </a:r>
          </a:p>
          <a:p>
            <a:pPr algn="ctr"/>
            <a:r>
              <a:rPr lang="en-US" altLang="ko-KR" sz="1400">
                <a:solidFill>
                  <a:schemeClr val="accent4"/>
                </a:solidFill>
                <a:cs typeface="Arial" pitchFamily="34" charset="0"/>
              </a:rPr>
              <a:t>by digitizing processes</a:t>
            </a:r>
          </a:p>
        </p:txBody>
      </p: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1C17C76F-AF3F-4571-4B75-0BA6B916B722}"/>
              </a:ext>
            </a:extLst>
          </p:cNvPr>
          <p:cNvCxnSpPr>
            <a:cxnSpLocks/>
          </p:cNvCxnSpPr>
          <p:nvPr/>
        </p:nvCxnSpPr>
        <p:spPr>
          <a:xfrm flipV="1">
            <a:off x="5663405" y="1875241"/>
            <a:ext cx="1036369" cy="1999532"/>
          </a:xfrm>
          <a:prstGeom prst="straightConnector1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TextBox 488">
            <a:extLst>
              <a:ext uri="{FF2B5EF4-FFF2-40B4-BE49-F238E27FC236}">
                <a16:creationId xmlns:a16="http://schemas.microsoft.com/office/drawing/2014/main" id="{C679FF18-1316-C06D-AA7E-A19814756F38}"/>
              </a:ext>
            </a:extLst>
          </p:cNvPr>
          <p:cNvSpPr txBox="1"/>
          <p:nvPr/>
        </p:nvSpPr>
        <p:spPr>
          <a:xfrm>
            <a:off x="651832" y="2004051"/>
            <a:ext cx="154206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Productive work</a:t>
            </a:r>
            <a:endParaRPr lang="ko-KR" altLang="en-US" sz="2000" b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4" name="Google Shape;670;p109">
            <a:extLst>
              <a:ext uri="{FF2B5EF4-FFF2-40B4-BE49-F238E27FC236}">
                <a16:creationId xmlns:a16="http://schemas.microsoft.com/office/drawing/2014/main" id="{9442A5C9-6513-FF7A-7978-8869FA96AFA6}"/>
              </a:ext>
            </a:extLst>
          </p:cNvPr>
          <p:cNvSpPr txBox="1"/>
          <p:nvPr/>
        </p:nvSpPr>
        <p:spPr>
          <a:xfrm>
            <a:off x="617161" y="2593349"/>
            <a:ext cx="1343150" cy="7386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marL="0" indent="0" defTabSz="1219170">
              <a:spcBef>
                <a:spcPts val="0"/>
              </a:spcBef>
              <a:buClr>
                <a:srgbClr val="000000"/>
              </a:buClr>
              <a:buNone/>
            </a:pPr>
            <a:r>
              <a:rPr lang="en-US" sz="4000" b="1" kern="0" dirty="0">
                <a:solidFill>
                  <a:schemeClr val="accent1"/>
                </a:solidFill>
                <a:latin typeface="+mj-lt"/>
                <a:ea typeface="Calibri"/>
                <a:cs typeface="Calibri"/>
                <a:sym typeface="Calibri"/>
              </a:rPr>
              <a:t>30%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9EB42A5-509D-59B3-744C-5E86181E885A}"/>
              </a:ext>
            </a:extLst>
          </p:cNvPr>
          <p:cNvSpPr txBox="1"/>
          <p:nvPr/>
        </p:nvSpPr>
        <p:spPr>
          <a:xfrm>
            <a:off x="9061890" y="2141237"/>
            <a:ext cx="149609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b="1" dirty="0">
                <a:solidFill>
                  <a:schemeClr val="accent4"/>
                </a:solidFill>
                <a:cs typeface="Arial" pitchFamily="34" charset="0"/>
              </a:rPr>
              <a:t>3. Jobsite Managem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4D6C108-7076-8A36-1EB1-6AE24E08E3FF}"/>
              </a:ext>
            </a:extLst>
          </p:cNvPr>
          <p:cNvSpPr txBox="1"/>
          <p:nvPr/>
        </p:nvSpPr>
        <p:spPr>
          <a:xfrm>
            <a:off x="9061890" y="2815788"/>
            <a:ext cx="149609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b="1" dirty="0">
                <a:solidFill>
                  <a:schemeClr val="accent4"/>
                </a:solidFill>
                <a:cs typeface="Arial" pitchFamily="34" charset="0"/>
              </a:rPr>
              <a:t>4. Resource Management</a:t>
            </a:r>
            <a:endParaRPr lang="ko-KR" altLang="en-US" sz="1600" b="1" dirty="0">
              <a:solidFill>
                <a:schemeClr val="accent4"/>
              </a:solidFill>
              <a:cs typeface="Arial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2E4BF46-2F29-53D9-2BA8-181ABA02333B}"/>
              </a:ext>
            </a:extLst>
          </p:cNvPr>
          <p:cNvSpPr txBox="1"/>
          <p:nvPr/>
        </p:nvSpPr>
        <p:spPr>
          <a:xfrm>
            <a:off x="9060238" y="3578187"/>
            <a:ext cx="17304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b="1" dirty="0">
                <a:solidFill>
                  <a:schemeClr val="accent4"/>
                </a:solidFill>
                <a:cs typeface="Arial" pitchFamily="34" charset="0"/>
              </a:rPr>
              <a:t>5. VDC &amp; Pre-fabrication</a:t>
            </a:r>
            <a:endParaRPr lang="ko-KR" altLang="en-US" sz="1600" b="1" dirty="0">
              <a:solidFill>
                <a:schemeClr val="accent4"/>
              </a:solidFill>
              <a:cs typeface="Arial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FCEE78F-55BC-B85B-7971-CACE53BD63F7}"/>
              </a:ext>
            </a:extLst>
          </p:cNvPr>
          <p:cNvSpPr txBox="1"/>
          <p:nvPr/>
        </p:nvSpPr>
        <p:spPr>
          <a:xfrm>
            <a:off x="8243245" y="4993707"/>
            <a:ext cx="3176322" cy="5539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>
            <a:defPPr>
              <a:defRPr lang="de-DE"/>
            </a:defPPr>
            <a:lvl1pPr indent="0">
              <a:spcBef>
                <a:spcPts val="0"/>
              </a:spcBef>
              <a:buClr>
                <a:srgbClr val="000000"/>
              </a:buClr>
              <a:buNone/>
              <a:defRPr sz="4800" b="1" kern="0">
                <a:solidFill>
                  <a:schemeClr val="accent1"/>
                </a:solidFill>
                <a:latin typeface="+mj-lt"/>
                <a:ea typeface="Calibri"/>
                <a:cs typeface="Calibri"/>
              </a:defRPr>
            </a:lvl1pPr>
          </a:lstStyle>
          <a:p>
            <a:r>
              <a:rPr lang="en-US" sz="2800">
                <a:sym typeface="Calibri"/>
              </a:rPr>
              <a:t>up to 2x</a:t>
            </a:r>
            <a:endParaRPr lang="en-US" sz="2800"/>
          </a:p>
        </p:txBody>
      </p:sp>
      <p:sp>
        <p:nvSpPr>
          <p:cNvPr id="10" name="Google Shape;668;p109">
            <a:extLst>
              <a:ext uri="{FF2B5EF4-FFF2-40B4-BE49-F238E27FC236}">
                <a16:creationId xmlns:a16="http://schemas.microsoft.com/office/drawing/2014/main" id="{2BA243B4-DD2B-94EE-A62F-9D7DDEE11048}"/>
              </a:ext>
            </a:extLst>
          </p:cNvPr>
          <p:cNvSpPr txBox="1"/>
          <p:nvPr/>
        </p:nvSpPr>
        <p:spPr>
          <a:xfrm>
            <a:off x="7681753" y="4364527"/>
            <a:ext cx="1374559" cy="738609"/>
          </a:xfrm>
          <a:prstGeom prst="rect">
            <a:avLst/>
          </a:prstGeom>
          <a:ln>
            <a:noFill/>
          </a:ln>
          <a:effectLst/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marL="0" indent="0" defTabSz="1219170">
              <a:lnSpc>
                <a:spcPts val="1600"/>
              </a:lnSpc>
              <a:spcBef>
                <a:spcPts val="0"/>
              </a:spcBef>
              <a:buClr>
                <a:srgbClr val="000000"/>
              </a:buClr>
              <a:buNone/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  <a:sym typeface="Calibri"/>
              </a:rPr>
              <a:t>Increase production per hour by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0DA78F4E-E623-EF58-693F-91FA5AB91070}"/>
              </a:ext>
            </a:extLst>
          </p:cNvPr>
          <p:cNvCxnSpPr>
            <a:cxnSpLocks/>
          </p:cNvCxnSpPr>
          <p:nvPr/>
        </p:nvCxnSpPr>
        <p:spPr>
          <a:xfrm>
            <a:off x="6707066" y="1882225"/>
            <a:ext cx="4847474" cy="0"/>
          </a:xfrm>
          <a:prstGeom prst="straightConnector1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5B383A3F-D119-1165-23DC-FA0ED65591D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flipH="1">
            <a:off x="6770569" y="2667744"/>
            <a:ext cx="1050422" cy="2778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023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7456"/>
    </mc:Choice>
    <mc:Fallback xmlns="">
      <p:transition advTm="7456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EC1092-08D3-47DC-B896-CE12910572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2EC1092-08D3-47DC-B896-CE12910572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4" name="Title 1">
            <a:extLst>
              <a:ext uri="{FF2B5EF4-FFF2-40B4-BE49-F238E27FC236}">
                <a16:creationId xmlns:a16="http://schemas.microsoft.com/office/drawing/2014/main" id="{29604F11-503B-47B8-8F27-EBBD69138C0D}"/>
              </a:ext>
            </a:extLst>
          </p:cNvPr>
          <p:cNvSpPr txBox="1">
            <a:spLocks/>
          </p:cNvSpPr>
          <p:nvPr/>
        </p:nvSpPr>
        <p:spPr>
          <a:xfrm>
            <a:off x="407988" y="333000"/>
            <a:ext cx="11376025" cy="792538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lnSpc>
                <a:spcPts val="3270"/>
              </a:lnSpc>
              <a:spcBef>
                <a:spcPct val="0"/>
              </a:spcBef>
              <a:buNone/>
              <a:defRPr sz="30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061D004-65A9-FE75-313F-8D51DD971011}"/>
              </a:ext>
            </a:extLst>
          </p:cNvPr>
          <p:cNvSpPr txBox="1">
            <a:spLocks/>
          </p:cNvSpPr>
          <p:nvPr/>
        </p:nvSpPr>
        <p:spPr bwMode="gray">
          <a:xfrm>
            <a:off x="11405738" y="6442034"/>
            <a:ext cx="504056" cy="186884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4178FD-43BF-4968-A299-3450DC0CDF97}" type="slidenum">
              <a:rPr lang="en-US" sz="1200" smtClean="0"/>
              <a:pPr/>
              <a:t>6</a:t>
            </a:fld>
            <a:endParaRPr lang="en-US" sz="120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9C3BABB-ADD7-AA3B-FAB6-E85F346247A6}"/>
              </a:ext>
            </a:extLst>
          </p:cNvPr>
          <p:cNvGrpSpPr/>
          <p:nvPr/>
        </p:nvGrpSpPr>
        <p:grpSpPr>
          <a:xfrm>
            <a:off x="4248231" y="1569095"/>
            <a:ext cx="3401075" cy="983703"/>
            <a:chOff x="1580520" y="3304740"/>
            <a:chExt cx="3401075" cy="983703"/>
          </a:xfrm>
        </p:grpSpPr>
        <p:sp>
          <p:nvSpPr>
            <p:cNvPr id="10" name="직사각형 52">
              <a:extLst>
                <a:ext uri="{FF2B5EF4-FFF2-40B4-BE49-F238E27FC236}">
                  <a16:creationId xmlns:a16="http://schemas.microsoft.com/office/drawing/2014/main" id="{F897D58D-A074-237B-E4F2-288639F474F9}"/>
                </a:ext>
              </a:extLst>
            </p:cNvPr>
            <p:cNvSpPr/>
            <p:nvPr/>
          </p:nvSpPr>
          <p:spPr>
            <a:xfrm>
              <a:off x="1580520" y="3304740"/>
              <a:ext cx="3401075" cy="983703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1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89F2E62-4511-82E3-6583-9AA121694958}"/>
                </a:ext>
              </a:extLst>
            </p:cNvPr>
            <p:cNvSpPr txBox="1"/>
            <p:nvPr/>
          </p:nvSpPr>
          <p:spPr>
            <a:xfrm>
              <a:off x="1661566" y="3617107"/>
              <a:ext cx="25327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20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xxx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C1A412A-2607-1C99-BCD7-B10B430AD409}"/>
                </a:ext>
              </a:extLst>
            </p:cNvPr>
            <p:cNvSpPr txBox="1"/>
            <p:nvPr/>
          </p:nvSpPr>
          <p:spPr>
            <a:xfrm>
              <a:off x="1649491" y="3320918"/>
              <a:ext cx="322182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Virtual Design &amp; Construction (VDC) 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794D1D5-E5C1-5C35-2CE0-F766658C5E54}"/>
              </a:ext>
            </a:extLst>
          </p:cNvPr>
          <p:cNvGrpSpPr/>
          <p:nvPr/>
        </p:nvGrpSpPr>
        <p:grpSpPr>
          <a:xfrm>
            <a:off x="7971071" y="1549623"/>
            <a:ext cx="3355980" cy="978360"/>
            <a:chOff x="1576663" y="4346774"/>
            <a:chExt cx="3355980" cy="663183"/>
          </a:xfrm>
        </p:grpSpPr>
        <p:sp>
          <p:nvSpPr>
            <p:cNvPr id="11" name="직사각형 53">
              <a:extLst>
                <a:ext uri="{FF2B5EF4-FFF2-40B4-BE49-F238E27FC236}">
                  <a16:creationId xmlns:a16="http://schemas.microsoft.com/office/drawing/2014/main" id="{461713BA-450B-418E-7AF5-EC8EE471C300}"/>
                </a:ext>
              </a:extLst>
            </p:cNvPr>
            <p:cNvSpPr/>
            <p:nvPr/>
          </p:nvSpPr>
          <p:spPr>
            <a:xfrm>
              <a:off x="1576663" y="4346774"/>
              <a:ext cx="3355980" cy="663183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1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C0E27AC-BE0C-0304-D8C6-80294106FEC9}"/>
                </a:ext>
              </a:extLst>
            </p:cNvPr>
            <p:cNvSpPr txBox="1"/>
            <p:nvPr/>
          </p:nvSpPr>
          <p:spPr>
            <a:xfrm>
              <a:off x="1652919" y="4400373"/>
              <a:ext cx="3279724" cy="2086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Work Package Solutions</a:t>
              </a:r>
              <a:endParaRPr lang="ko-KR" altLang="en-US"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F855360D-48A6-866D-7968-73DD4F55BE57}"/>
              </a:ext>
            </a:extLst>
          </p:cNvPr>
          <p:cNvGrpSpPr/>
          <p:nvPr/>
        </p:nvGrpSpPr>
        <p:grpSpPr>
          <a:xfrm>
            <a:off x="539222" y="1561964"/>
            <a:ext cx="3387244" cy="986057"/>
            <a:chOff x="1039450" y="1532412"/>
            <a:chExt cx="3387244" cy="986057"/>
          </a:xfrm>
        </p:grpSpPr>
        <p:sp>
          <p:nvSpPr>
            <p:cNvPr id="9" name="직사각형 1">
              <a:extLst>
                <a:ext uri="{FF2B5EF4-FFF2-40B4-BE49-F238E27FC236}">
                  <a16:creationId xmlns:a16="http://schemas.microsoft.com/office/drawing/2014/main" id="{78D7CA57-C837-5795-4B40-4BFB077D6165}"/>
                </a:ext>
              </a:extLst>
            </p:cNvPr>
            <p:cNvSpPr/>
            <p:nvPr/>
          </p:nvSpPr>
          <p:spPr>
            <a:xfrm>
              <a:off x="1039450" y="1532412"/>
              <a:ext cx="3387244" cy="98605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1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FB315FE-85EA-8908-42D5-D654BFF499D0}"/>
                </a:ext>
              </a:extLst>
            </p:cNvPr>
            <p:cNvSpPr txBox="1"/>
            <p:nvPr/>
          </p:nvSpPr>
          <p:spPr>
            <a:xfrm>
              <a:off x="1101826" y="1557191"/>
              <a:ext cx="283487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Equipment and material:</a:t>
              </a:r>
              <a:endParaRPr lang="ko-KR" altLang="en-US"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4226E91-DEDE-22CD-A657-6B7C3883BE02}"/>
                </a:ext>
              </a:extLst>
            </p:cNvPr>
            <p:cNvSpPr txBox="1"/>
            <p:nvPr/>
          </p:nvSpPr>
          <p:spPr>
            <a:xfrm>
              <a:off x="1112376" y="1860804"/>
              <a:ext cx="208539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20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Locating, retrieving, </a:t>
              </a:r>
              <a:br>
                <a:rPr lang="en-US" altLang="ko-KR" sz="120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</a:br>
              <a:r>
                <a:rPr lang="en-US" altLang="ko-KR" sz="120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and maintaining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C714138-334E-5EB2-0DDB-B2B15952885C}"/>
              </a:ext>
            </a:extLst>
          </p:cNvPr>
          <p:cNvGrpSpPr/>
          <p:nvPr/>
        </p:nvGrpSpPr>
        <p:grpSpPr>
          <a:xfrm>
            <a:off x="539222" y="2816910"/>
            <a:ext cx="2634383" cy="954107"/>
            <a:chOff x="1356663" y="2603634"/>
            <a:chExt cx="2634383" cy="954107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B02EB97-277D-84AE-6993-FD58796A4667}"/>
                </a:ext>
              </a:extLst>
            </p:cNvPr>
            <p:cNvSpPr txBox="1"/>
            <p:nvPr/>
          </p:nvSpPr>
          <p:spPr>
            <a:xfrm>
              <a:off x="1453587" y="2603634"/>
              <a:ext cx="2537459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Name, </a:t>
              </a:r>
              <a:r>
                <a:rPr lang="en-US" sz="1200" dirty="0"/>
                <a:t>Title</a:t>
              </a:r>
              <a:endParaRPr lang="en-US" sz="1400" dirty="0"/>
            </a:p>
            <a:p>
              <a:pPr algn="ctr"/>
              <a:r>
                <a:rPr lang="en-US" sz="1400" b="1" dirty="0"/>
                <a:t>Name, </a:t>
              </a:r>
              <a:r>
                <a:rPr lang="en-US" sz="1200" dirty="0"/>
                <a:t>Title</a:t>
              </a:r>
              <a:endParaRPr lang="en-US" sz="1400" dirty="0"/>
            </a:p>
            <a:p>
              <a:pPr algn="ctr"/>
              <a:r>
                <a:rPr lang="en-US" sz="1400" b="1" dirty="0"/>
                <a:t>Name, </a:t>
              </a:r>
              <a:r>
                <a:rPr lang="en-US" sz="1200" dirty="0"/>
                <a:t>Title</a:t>
              </a:r>
              <a:endParaRPr lang="en-US" sz="1400" dirty="0"/>
            </a:p>
            <a:p>
              <a:pPr algn="ctr"/>
              <a:endParaRPr lang="en-US" sz="1400" dirty="0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22CCD44-56DE-07DF-E4CF-D630A84925F7}"/>
                </a:ext>
              </a:extLst>
            </p:cNvPr>
            <p:cNvSpPr txBox="1"/>
            <p:nvPr/>
          </p:nvSpPr>
          <p:spPr>
            <a:xfrm>
              <a:off x="1356663" y="2663454"/>
              <a:ext cx="475432" cy="2538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07000"/>
                </a:lnSpc>
                <a:spcBef>
                  <a:spcPts val="1000"/>
                </a:spcBef>
                <a:buClr>
                  <a:srgbClr val="A19DA2"/>
                </a:buClr>
              </a:pPr>
              <a:r>
                <a:rPr lang="en-US" sz="800">
                  <a:highlight>
                    <a:srgbClr val="FFFF00"/>
                  </a:highlight>
                </a:rPr>
                <a:t>Customer logo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FD62FE2E-D02A-74D9-0286-E0E52972650D}"/>
              </a:ext>
            </a:extLst>
          </p:cNvPr>
          <p:cNvGrpSpPr/>
          <p:nvPr/>
        </p:nvGrpSpPr>
        <p:grpSpPr>
          <a:xfrm>
            <a:off x="548169" y="4462110"/>
            <a:ext cx="2553165" cy="954107"/>
            <a:chOff x="5052292" y="2947316"/>
            <a:chExt cx="2553165" cy="954107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51A99553-0DFB-823A-9434-AA738FFA5003}"/>
                </a:ext>
              </a:extLst>
            </p:cNvPr>
            <p:cNvSpPr txBox="1"/>
            <p:nvPr/>
          </p:nvSpPr>
          <p:spPr>
            <a:xfrm>
              <a:off x="5192351" y="2947316"/>
              <a:ext cx="2413106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/>
                <a:t>Name, </a:t>
              </a:r>
              <a:r>
                <a:rPr lang="en-US" sz="1200"/>
                <a:t>Title</a:t>
              </a:r>
              <a:endParaRPr lang="en-US" sz="1400"/>
            </a:p>
            <a:p>
              <a:pPr algn="ctr"/>
              <a:r>
                <a:rPr lang="en-US" sz="1400" b="1"/>
                <a:t>Name, </a:t>
              </a:r>
              <a:r>
                <a:rPr lang="en-US" sz="1200"/>
                <a:t>Title</a:t>
              </a:r>
              <a:endParaRPr lang="en-US" sz="1400"/>
            </a:p>
            <a:p>
              <a:pPr algn="ctr"/>
              <a:r>
                <a:rPr lang="en-US" sz="1400" b="1"/>
                <a:t>Name, </a:t>
              </a:r>
              <a:r>
                <a:rPr lang="en-US" sz="1200"/>
                <a:t>Title</a:t>
              </a:r>
              <a:endParaRPr lang="en-US" sz="1400"/>
            </a:p>
            <a:p>
              <a:pPr algn="ctr"/>
              <a:endParaRPr lang="en-US" sz="1400"/>
            </a:p>
          </p:txBody>
        </p: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1385F78E-19FA-F0A2-070A-46438FB9DD8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052292" y="3044064"/>
              <a:ext cx="322627" cy="76081"/>
            </a:xfrm>
            <a:prstGeom prst="rect">
              <a:avLst/>
            </a:prstGeom>
          </p:spPr>
        </p:pic>
      </p:grpSp>
      <p:sp>
        <p:nvSpPr>
          <p:cNvPr id="45" name="Title 8">
            <a:extLst>
              <a:ext uri="{FF2B5EF4-FFF2-40B4-BE49-F238E27FC236}">
                <a16:creationId xmlns:a16="http://schemas.microsoft.com/office/drawing/2014/main" id="{E26C8FA1-F91F-BA79-BD2D-AD2600FC20A7}"/>
              </a:ext>
            </a:extLst>
          </p:cNvPr>
          <p:cNvSpPr txBox="1">
            <a:spLocks/>
          </p:cNvSpPr>
          <p:nvPr/>
        </p:nvSpPr>
        <p:spPr>
          <a:xfrm>
            <a:off x="407988" y="333000"/>
            <a:ext cx="11376025" cy="364430"/>
          </a:xfrm>
          <a:prstGeom prst="rect">
            <a:avLst/>
          </a:prstGeom>
        </p:spPr>
        <p:txBody>
          <a:bodyPr vert="horz"/>
          <a:lstStyle>
            <a:lvl1pPr algn="l" defTabSz="1219170" rtl="0" eaLnBrk="1" latinLnBrk="0" hangingPunct="1">
              <a:lnSpc>
                <a:spcPts val="3270"/>
              </a:lnSpc>
              <a:spcBef>
                <a:spcPct val="0"/>
              </a:spcBef>
              <a:buNone/>
              <a:defRPr sz="30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otal team approach 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D8DFF21-356E-A6D1-2C0F-34C9919A0FB8}"/>
              </a:ext>
            </a:extLst>
          </p:cNvPr>
          <p:cNvGrpSpPr/>
          <p:nvPr/>
        </p:nvGrpSpPr>
        <p:grpSpPr>
          <a:xfrm>
            <a:off x="4249062" y="2775545"/>
            <a:ext cx="2634383" cy="954107"/>
            <a:chOff x="1356663" y="2603634"/>
            <a:chExt cx="2634383" cy="954107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4FC0CC20-4020-56DB-3D80-A27EA54780B9}"/>
                </a:ext>
              </a:extLst>
            </p:cNvPr>
            <p:cNvSpPr txBox="1"/>
            <p:nvPr/>
          </p:nvSpPr>
          <p:spPr>
            <a:xfrm>
              <a:off x="1453587" y="2603634"/>
              <a:ext cx="2537459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/>
                <a:t>Name, </a:t>
              </a:r>
              <a:r>
                <a:rPr lang="en-US" sz="1200"/>
                <a:t>Title</a:t>
              </a:r>
              <a:endParaRPr lang="en-US" sz="1400"/>
            </a:p>
            <a:p>
              <a:pPr algn="ctr"/>
              <a:r>
                <a:rPr lang="en-US" sz="1400" b="1"/>
                <a:t>Name, </a:t>
              </a:r>
              <a:r>
                <a:rPr lang="en-US" sz="1200"/>
                <a:t>Title</a:t>
              </a:r>
              <a:endParaRPr lang="en-US" sz="1400"/>
            </a:p>
            <a:p>
              <a:pPr algn="ctr"/>
              <a:r>
                <a:rPr lang="en-US" sz="1400" b="1"/>
                <a:t>Name, </a:t>
              </a:r>
              <a:r>
                <a:rPr lang="en-US" sz="1200"/>
                <a:t>Title</a:t>
              </a:r>
              <a:endParaRPr lang="en-US" sz="1400"/>
            </a:p>
            <a:p>
              <a:pPr algn="ctr"/>
              <a:endParaRPr lang="en-US" sz="1400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78BCE4A0-AEA6-8DBB-2E5E-7016F8E643D4}"/>
                </a:ext>
              </a:extLst>
            </p:cNvPr>
            <p:cNvSpPr txBox="1"/>
            <p:nvPr/>
          </p:nvSpPr>
          <p:spPr>
            <a:xfrm>
              <a:off x="1356663" y="2663454"/>
              <a:ext cx="475432" cy="2538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07000"/>
                </a:lnSpc>
                <a:spcBef>
                  <a:spcPts val="1000"/>
                </a:spcBef>
                <a:buClr>
                  <a:srgbClr val="A19DA2"/>
                </a:buClr>
              </a:pPr>
              <a:r>
                <a:rPr lang="en-US" sz="800">
                  <a:highlight>
                    <a:srgbClr val="FFFF00"/>
                  </a:highlight>
                </a:rPr>
                <a:t>Customer logo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FB98929-FF20-5E21-6F3D-4DDA81570883}"/>
              </a:ext>
            </a:extLst>
          </p:cNvPr>
          <p:cNvGrpSpPr/>
          <p:nvPr/>
        </p:nvGrpSpPr>
        <p:grpSpPr>
          <a:xfrm>
            <a:off x="4268103" y="4407541"/>
            <a:ext cx="2553165" cy="954107"/>
            <a:chOff x="5052292" y="2947316"/>
            <a:chExt cx="2553165" cy="95410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7582DB1-6B1B-2D22-3BDB-20F2B54637BA}"/>
                </a:ext>
              </a:extLst>
            </p:cNvPr>
            <p:cNvSpPr txBox="1"/>
            <p:nvPr/>
          </p:nvSpPr>
          <p:spPr>
            <a:xfrm>
              <a:off x="5192351" y="2947316"/>
              <a:ext cx="2413106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/>
                <a:t>Name, </a:t>
              </a:r>
              <a:r>
                <a:rPr lang="en-US" sz="1200"/>
                <a:t>Title</a:t>
              </a:r>
              <a:endParaRPr lang="en-US" sz="1400"/>
            </a:p>
            <a:p>
              <a:pPr algn="ctr"/>
              <a:r>
                <a:rPr lang="en-US" sz="1400" b="1"/>
                <a:t>Name, </a:t>
              </a:r>
              <a:r>
                <a:rPr lang="en-US" sz="1200"/>
                <a:t>Title</a:t>
              </a:r>
              <a:endParaRPr lang="en-US" sz="1400"/>
            </a:p>
            <a:p>
              <a:pPr algn="ctr"/>
              <a:r>
                <a:rPr lang="en-US" sz="1400" b="1"/>
                <a:t>Name, </a:t>
              </a:r>
              <a:r>
                <a:rPr lang="en-US" sz="1200"/>
                <a:t>Title</a:t>
              </a:r>
              <a:endParaRPr lang="en-US" sz="1400"/>
            </a:p>
            <a:p>
              <a:pPr algn="ctr"/>
              <a:endParaRPr lang="en-US" sz="1400"/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1C3FAC9A-4828-6E01-FEE2-E3DCD7A12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052292" y="3044064"/>
              <a:ext cx="322627" cy="76081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E45DDCD-F011-DEA6-3F63-7E819994A8FC}"/>
              </a:ext>
            </a:extLst>
          </p:cNvPr>
          <p:cNvGrpSpPr/>
          <p:nvPr/>
        </p:nvGrpSpPr>
        <p:grpSpPr>
          <a:xfrm>
            <a:off x="8024824" y="2775545"/>
            <a:ext cx="2634383" cy="954107"/>
            <a:chOff x="1356663" y="2603634"/>
            <a:chExt cx="2634383" cy="954107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26351555-5F7B-B9F0-388B-307A7CE7CF15}"/>
                </a:ext>
              </a:extLst>
            </p:cNvPr>
            <p:cNvSpPr txBox="1"/>
            <p:nvPr/>
          </p:nvSpPr>
          <p:spPr>
            <a:xfrm>
              <a:off x="1453587" y="2603634"/>
              <a:ext cx="2537459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/>
                <a:t>Name, </a:t>
              </a:r>
              <a:r>
                <a:rPr lang="en-US" sz="1200"/>
                <a:t>Title</a:t>
              </a:r>
              <a:endParaRPr lang="en-US" sz="1400"/>
            </a:p>
            <a:p>
              <a:pPr algn="ctr"/>
              <a:r>
                <a:rPr lang="en-US" sz="1400" b="1"/>
                <a:t>Name, </a:t>
              </a:r>
              <a:r>
                <a:rPr lang="en-US" sz="1200"/>
                <a:t>Title</a:t>
              </a:r>
              <a:endParaRPr lang="en-US" sz="1400"/>
            </a:p>
            <a:p>
              <a:pPr algn="ctr"/>
              <a:r>
                <a:rPr lang="en-US" sz="1400" b="1"/>
                <a:t>Name, </a:t>
              </a:r>
              <a:r>
                <a:rPr lang="en-US" sz="1200"/>
                <a:t>Title</a:t>
              </a:r>
              <a:endParaRPr lang="en-US" sz="1400"/>
            </a:p>
            <a:p>
              <a:pPr algn="ctr"/>
              <a:endParaRPr lang="en-US" sz="140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254F115-485E-DF4E-B842-B615B1D3AB61}"/>
                </a:ext>
              </a:extLst>
            </p:cNvPr>
            <p:cNvSpPr txBox="1"/>
            <p:nvPr/>
          </p:nvSpPr>
          <p:spPr>
            <a:xfrm>
              <a:off x="1356663" y="2663454"/>
              <a:ext cx="475432" cy="2538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07000"/>
                </a:lnSpc>
                <a:spcBef>
                  <a:spcPts val="1000"/>
                </a:spcBef>
                <a:buClr>
                  <a:srgbClr val="A19DA2"/>
                </a:buClr>
              </a:pPr>
              <a:r>
                <a:rPr lang="en-US" sz="800">
                  <a:highlight>
                    <a:srgbClr val="FFFF00"/>
                  </a:highlight>
                </a:rPr>
                <a:t>Customer logo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265877B-0EB3-3C15-7A7C-351246EC6F7C}"/>
              </a:ext>
            </a:extLst>
          </p:cNvPr>
          <p:cNvGrpSpPr/>
          <p:nvPr/>
        </p:nvGrpSpPr>
        <p:grpSpPr>
          <a:xfrm>
            <a:off x="8043865" y="4407541"/>
            <a:ext cx="2553165" cy="954107"/>
            <a:chOff x="5052292" y="2947316"/>
            <a:chExt cx="2553165" cy="954107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236ECC2-B535-8B41-E666-8FB95E5BC2BD}"/>
                </a:ext>
              </a:extLst>
            </p:cNvPr>
            <p:cNvSpPr txBox="1"/>
            <p:nvPr/>
          </p:nvSpPr>
          <p:spPr>
            <a:xfrm>
              <a:off x="5192351" y="2947316"/>
              <a:ext cx="2413106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/>
                <a:t>Name, </a:t>
              </a:r>
              <a:r>
                <a:rPr lang="en-US" sz="1200"/>
                <a:t>Title</a:t>
              </a:r>
              <a:endParaRPr lang="en-US" sz="1400"/>
            </a:p>
            <a:p>
              <a:pPr algn="ctr"/>
              <a:r>
                <a:rPr lang="en-US" sz="1400" b="1"/>
                <a:t>Name, </a:t>
              </a:r>
              <a:r>
                <a:rPr lang="en-US" sz="1200"/>
                <a:t>Title</a:t>
              </a:r>
              <a:endParaRPr lang="en-US" sz="1400"/>
            </a:p>
            <a:p>
              <a:pPr algn="ctr"/>
              <a:r>
                <a:rPr lang="en-US" sz="1400" b="1"/>
                <a:t>Name, </a:t>
              </a:r>
              <a:r>
                <a:rPr lang="en-US" sz="1200"/>
                <a:t>Title</a:t>
              </a:r>
              <a:endParaRPr lang="en-US" sz="1400"/>
            </a:p>
            <a:p>
              <a:pPr algn="ctr"/>
              <a:endParaRPr lang="en-US" sz="1400"/>
            </a:p>
          </p:txBody>
        </p:sp>
        <p:pic>
          <p:nvPicPr>
            <p:cNvPr id="225" name="Picture 224">
              <a:extLst>
                <a:ext uri="{FF2B5EF4-FFF2-40B4-BE49-F238E27FC236}">
                  <a16:creationId xmlns:a16="http://schemas.microsoft.com/office/drawing/2014/main" id="{C733230C-18FA-395C-DDCB-E8D02DAF52C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052292" y="3044064"/>
              <a:ext cx="322627" cy="76081"/>
            </a:xfrm>
            <a:prstGeom prst="rect">
              <a:avLst/>
            </a:prstGeom>
          </p:spPr>
        </p:pic>
      </p:grpSp>
      <p:sp>
        <p:nvSpPr>
          <p:cNvPr id="226" name="TextBox 225">
            <a:extLst>
              <a:ext uri="{FF2B5EF4-FFF2-40B4-BE49-F238E27FC236}">
                <a16:creationId xmlns:a16="http://schemas.microsoft.com/office/drawing/2014/main" id="{586F7988-C1A9-DBEA-559F-BCA9E9FD7B1C}"/>
              </a:ext>
            </a:extLst>
          </p:cNvPr>
          <p:cNvSpPr txBox="1"/>
          <p:nvPr/>
        </p:nvSpPr>
        <p:spPr>
          <a:xfrm>
            <a:off x="8081996" y="1886182"/>
            <a:ext cx="25327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18771659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D16EB1D-45E9-41F4-9755-F232CBD6E4F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8" y="3863697"/>
            <a:ext cx="3783012" cy="2526718"/>
          </a:xfrm>
        </p:spPr>
        <p:txBody>
          <a:bodyPr/>
          <a:lstStyle/>
          <a:p>
            <a:pPr marL="0" indent="0" algn="ctr">
              <a:buNone/>
            </a:pPr>
            <a:r>
              <a:rPr lang="en-US" sz="2000" b="1" dirty="0">
                <a:solidFill>
                  <a:schemeClr val="accent1"/>
                </a:solidFill>
              </a:rPr>
              <a:t>        </a:t>
            </a:r>
          </a:p>
          <a:p>
            <a:pPr marL="276900" lvl="1" indent="0">
              <a:buNone/>
            </a:pPr>
            <a:r>
              <a:rPr lang="en-US" sz="1600" b="1" dirty="0"/>
              <a:t>                   </a:t>
            </a:r>
            <a:r>
              <a:rPr lang="en-US" sz="1600" dirty="0"/>
              <a:t>savings in inventory checks.</a:t>
            </a:r>
          </a:p>
          <a:p>
            <a:pPr marL="276900" lvl="1" indent="0">
              <a:buNone/>
            </a:pPr>
            <a:r>
              <a:rPr lang="en-US" sz="1600" b="1" dirty="0"/>
              <a:t>             labor hours utilized </a:t>
            </a:r>
            <a:r>
              <a:rPr lang="en-US" sz="1600" dirty="0"/>
              <a:t>per year searching for assets and performing inventory checks.</a:t>
            </a:r>
          </a:p>
          <a:p>
            <a:pPr marL="276900" lvl="1" indent="0">
              <a:buNone/>
            </a:pPr>
            <a:r>
              <a:rPr lang="en-US" sz="1600" dirty="0"/>
              <a:t>Confirmed delivery </a:t>
            </a:r>
            <a:r>
              <a:rPr lang="en-US" sz="1600" b="1" u="sng" dirty="0"/>
              <a:t>re-establishes trust</a:t>
            </a:r>
            <a:r>
              <a:rPr lang="en-US" sz="1600" b="1" dirty="0"/>
              <a:t> </a:t>
            </a:r>
            <a:r>
              <a:rPr lang="en-US" sz="1600" dirty="0"/>
              <a:t>between projects and warehouse</a:t>
            </a:r>
          </a:p>
          <a:p>
            <a:pPr marL="276900" lvl="1" indent="0">
              <a:buNone/>
            </a:pPr>
            <a:endParaRPr lang="en-US" sz="1600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F20695A-9440-4744-9F90-CD4F0AFB800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295776" y="3863696"/>
            <a:ext cx="3600450" cy="2526719"/>
          </a:xfrm>
        </p:spPr>
        <p:txBody>
          <a:bodyPr/>
          <a:lstStyle/>
          <a:p>
            <a:pPr marL="0" indent="0" algn="ctr">
              <a:buNone/>
            </a:pPr>
            <a:r>
              <a:rPr lang="en-US" sz="2000" b="1" dirty="0">
                <a:solidFill>
                  <a:schemeClr val="accent1"/>
                </a:solidFill>
              </a:rPr>
              <a:t>           </a:t>
            </a:r>
          </a:p>
          <a:p>
            <a:pPr marL="276900" lvl="1" indent="0">
              <a:buNone/>
            </a:pPr>
            <a:r>
              <a:rPr lang="en-US" sz="1600" b="1" dirty="0"/>
              <a:t>+     %       anticipated productivity improvement </a:t>
            </a:r>
            <a:r>
              <a:rPr lang="en-US" sz="1600" dirty="0"/>
              <a:t>through the use of </a:t>
            </a:r>
            <a:r>
              <a:rPr lang="en-US" sz="1600" dirty="0" err="1"/>
              <a:t>Nuron</a:t>
            </a:r>
            <a:r>
              <a:rPr lang="en-US" sz="1600" dirty="0"/>
              <a:t> &amp; work per charge.</a:t>
            </a:r>
          </a:p>
          <a:p>
            <a:pPr marL="276900" lvl="1" indent="0">
              <a:buNone/>
            </a:pPr>
            <a:r>
              <a:rPr lang="en-US" sz="1600" b="1" dirty="0"/>
              <a:t>            labor hours utilized </a:t>
            </a:r>
            <a:r>
              <a:rPr lang="en-US" sz="1600" dirty="0"/>
              <a:t>per year on trigger time. </a:t>
            </a:r>
          </a:p>
          <a:p>
            <a:pPr marL="276900" lvl="1" indent="0">
              <a:buNone/>
            </a:pPr>
            <a:r>
              <a:rPr lang="en-US" sz="1600" b="1" dirty="0"/>
              <a:t>            labor hours per year gained </a:t>
            </a:r>
            <a:r>
              <a:rPr lang="en-US" sz="1600" dirty="0"/>
              <a:t>through productivity.</a:t>
            </a:r>
          </a:p>
          <a:p>
            <a:endParaRPr lang="en-US" sz="1600" dirty="0"/>
          </a:p>
          <a:p>
            <a:pPr marL="0" indent="0" algn="ctr">
              <a:buNone/>
            </a:pPr>
            <a:endParaRPr lang="en-US" sz="1600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6E1BD62-A347-42AD-87D6-492775B9BB4B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207375" y="3863697"/>
            <a:ext cx="3600450" cy="2793502"/>
          </a:xfrm>
        </p:spPr>
        <p:txBody>
          <a:bodyPr/>
          <a:lstStyle/>
          <a:p>
            <a:pPr marL="0" indent="0" algn="ctr">
              <a:buNone/>
            </a:pPr>
            <a:r>
              <a:rPr lang="en-US" sz="2000" b="1" dirty="0">
                <a:solidFill>
                  <a:schemeClr val="accent1"/>
                </a:solidFill>
              </a:rPr>
              <a:t>          </a:t>
            </a:r>
            <a:endParaRPr lang="en-US" sz="1600" dirty="0"/>
          </a:p>
          <a:p>
            <a:pPr marL="276900" lvl="1" indent="0">
              <a:buNone/>
            </a:pPr>
            <a:r>
              <a:rPr lang="en-US" sz="1600" b="1" dirty="0"/>
              <a:t>                 </a:t>
            </a:r>
            <a:r>
              <a:rPr lang="en-US" sz="1600" dirty="0"/>
              <a:t>retired or lost assets from 2018-2022.</a:t>
            </a:r>
          </a:p>
          <a:p>
            <a:pPr marL="276900" lvl="1" indent="0">
              <a:buNone/>
            </a:pPr>
            <a:r>
              <a:rPr lang="en-US" sz="1600" b="1" dirty="0"/>
              <a:t>Significant Reduction</a:t>
            </a:r>
            <a:r>
              <a:rPr lang="en-US" sz="1600" dirty="0"/>
              <a:t> in the number of invoices to process.</a:t>
            </a:r>
          </a:p>
          <a:p>
            <a:pPr marL="276900" lvl="1" indent="0">
              <a:buNone/>
            </a:pPr>
            <a:r>
              <a:rPr lang="en-US" sz="1600" b="1" dirty="0"/>
              <a:t>Savings of                         </a:t>
            </a:r>
            <a:r>
              <a:rPr lang="en-US" sz="1600" dirty="0"/>
              <a:t>per year over the last </a:t>
            </a:r>
            <a:r>
              <a:rPr lang="en-US" sz="1600" b="1" dirty="0"/>
              <a:t>4 years </a:t>
            </a:r>
            <a:r>
              <a:rPr lang="en-US" sz="1600" dirty="0"/>
              <a:t>with Hilti Fleet Management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BF7DA58-606E-4B83-AD2B-5D76E540B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stimated Return on Investmen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BC2B49F-DCD9-422D-BCD5-B488FA1A2613}"/>
              </a:ext>
            </a:extLst>
          </p:cNvPr>
          <p:cNvSpPr txBox="1"/>
          <p:nvPr/>
        </p:nvSpPr>
        <p:spPr>
          <a:xfrm>
            <a:off x="407990" y="3229295"/>
            <a:ext cx="3600449" cy="5486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 rtlCol="0" anchor="ctr" anchorCtr="1">
            <a:noAutofit/>
          </a:bodyPr>
          <a:lstStyle/>
          <a:p>
            <a:pPr algn="ctr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600" b="1" dirty="0">
                <a:solidFill>
                  <a:schemeClr val="accent4"/>
                </a:solidFill>
              </a:rPr>
              <a:t>Transparenc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324B4A1-56BB-4E66-B23A-29F44294E23F}"/>
              </a:ext>
            </a:extLst>
          </p:cNvPr>
          <p:cNvSpPr txBox="1"/>
          <p:nvPr/>
        </p:nvSpPr>
        <p:spPr>
          <a:xfrm>
            <a:off x="4295775" y="3229294"/>
            <a:ext cx="3600449" cy="5486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 rtlCol="0" anchor="ctr" anchorCtr="1">
            <a:noAutofit/>
          </a:bodyPr>
          <a:lstStyle/>
          <a:p>
            <a:pPr algn="ctr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600" b="1" dirty="0">
                <a:solidFill>
                  <a:schemeClr val="accent4"/>
                </a:solidFill>
              </a:rPr>
              <a:t>Application Productivit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7F16EF2-433D-4994-A2E4-57567BBCC41E}"/>
              </a:ext>
            </a:extLst>
          </p:cNvPr>
          <p:cNvSpPr txBox="1"/>
          <p:nvPr/>
        </p:nvSpPr>
        <p:spPr>
          <a:xfrm>
            <a:off x="8183561" y="3229294"/>
            <a:ext cx="3600449" cy="5486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 rtlCol="0" anchor="ctr" anchorCtr="1">
            <a:noAutofit/>
          </a:bodyPr>
          <a:lstStyle/>
          <a:p>
            <a:pPr algn="ctr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600" b="1" dirty="0">
                <a:solidFill>
                  <a:schemeClr val="accent4"/>
                </a:solidFill>
              </a:rPr>
              <a:t>Smart Cost Control</a:t>
            </a:r>
          </a:p>
        </p:txBody>
      </p:sp>
      <p:pic>
        <p:nvPicPr>
          <p:cNvPr id="39" name="Picture Placeholder 38">
            <a:extLst>
              <a:ext uri="{FF2B5EF4-FFF2-40B4-BE49-F238E27FC236}">
                <a16:creationId xmlns:a16="http://schemas.microsoft.com/office/drawing/2014/main" id="{50A2F8B5-F153-4276-80F5-F3AE49901005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07" b="7407"/>
          <a:stretch>
            <a:fillRect/>
          </a:stretch>
        </p:blipFill>
        <p:spPr>
          <a:xfrm>
            <a:off x="4295775" y="1068027"/>
            <a:ext cx="3600450" cy="2044700"/>
          </a:xfrm>
        </p:spPr>
      </p:pic>
      <p:pic>
        <p:nvPicPr>
          <p:cNvPr id="37" name="Picture Placeholder 36">
            <a:extLst>
              <a:ext uri="{FF2B5EF4-FFF2-40B4-BE49-F238E27FC236}">
                <a16:creationId xmlns:a16="http://schemas.microsoft.com/office/drawing/2014/main" id="{C2CBA642-2E62-437A-840A-EDCDB91B40B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59" r="8059"/>
          <a:stretch>
            <a:fillRect/>
          </a:stretch>
        </p:blipFill>
        <p:spPr>
          <a:xfrm>
            <a:off x="8183560" y="1068027"/>
            <a:ext cx="3600450" cy="2044700"/>
          </a:xfrm>
        </p:spPr>
      </p:pic>
      <p:pic>
        <p:nvPicPr>
          <p:cNvPr id="13" name="Picture 12">
            <a:hlinkClick r:id="" action="ppaction://noaction"/>
            <a:extLst>
              <a:ext uri="{FF2B5EF4-FFF2-40B4-BE49-F238E27FC236}">
                <a16:creationId xmlns:a16="http://schemas.microsoft.com/office/drawing/2014/main" id="{86C005DE-1B05-4A83-BC6A-26065A13D0F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2237" y="3293309"/>
            <a:ext cx="393651" cy="406349"/>
          </a:xfrm>
          <a:prstGeom prst="rect">
            <a:avLst/>
          </a:prstGeom>
        </p:spPr>
      </p:pic>
      <p:pic>
        <p:nvPicPr>
          <p:cNvPr id="4" name="Graphic 3" descr="Smart Phone with solid fill">
            <a:hlinkClick r:id="" action="ppaction://noaction"/>
            <a:extLst>
              <a:ext uri="{FF2B5EF4-FFF2-40B4-BE49-F238E27FC236}">
                <a16:creationId xmlns:a16="http://schemas.microsoft.com/office/drawing/2014/main" id="{37351CF3-B0A3-4A50-ADC6-84FB68FC6AE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29000" y="3275004"/>
            <a:ext cx="424654" cy="424654"/>
          </a:xfrm>
          <a:prstGeom prst="rect">
            <a:avLst/>
          </a:prstGeom>
        </p:spPr>
      </p:pic>
      <p:pic>
        <p:nvPicPr>
          <p:cNvPr id="8" name="Graphic 7" descr="Money with solid fill">
            <a:hlinkClick r:id="" action="ppaction://noaction"/>
            <a:extLst>
              <a:ext uri="{FF2B5EF4-FFF2-40B4-BE49-F238E27FC236}">
                <a16:creationId xmlns:a16="http://schemas.microsoft.com/office/drawing/2014/main" id="{90E2A1F3-08AB-424E-89A2-354CCB8C132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100370" y="3183479"/>
            <a:ext cx="607704" cy="607704"/>
          </a:xfrm>
          <a:prstGeom prst="rect">
            <a:avLst/>
          </a:prstGeom>
        </p:spPr>
      </p:pic>
      <p:pic>
        <p:nvPicPr>
          <p:cNvPr id="23" name="Picture Placeholder 22">
            <a:extLst>
              <a:ext uri="{FF2B5EF4-FFF2-40B4-BE49-F238E27FC236}">
                <a16:creationId xmlns:a16="http://schemas.microsoft.com/office/drawing/2014/main" id="{2BC320D6-936C-DC71-55C8-7CB98A5901E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50" r="11350"/>
          <a:stretch>
            <a:fillRect/>
          </a:stretch>
        </p:blipFill>
        <p:spPr>
          <a:xfrm>
            <a:off x="407990" y="1068027"/>
            <a:ext cx="3600449" cy="2044700"/>
          </a:xfr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9213B2-FBE4-91FB-9311-EC60855DC9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xecutive Summary</a:t>
            </a:r>
            <a:endParaRPr lang="en-US" noProof="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4D94221-2083-ED6C-BD81-A41B9C121482}"/>
              </a:ext>
            </a:extLst>
          </p:cNvPr>
          <p:cNvSpPr txBox="1"/>
          <p:nvPr/>
        </p:nvSpPr>
        <p:spPr>
          <a:xfrm>
            <a:off x="9982200" y="109477"/>
            <a:ext cx="2053717" cy="57124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800" dirty="0"/>
              <a:t>Needs data from Excel fi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C359E2F-80F1-17E5-0E73-74BC7D2A3975}"/>
              </a:ext>
            </a:extLst>
          </p:cNvPr>
          <p:cNvSpPr txBox="1"/>
          <p:nvPr/>
        </p:nvSpPr>
        <p:spPr>
          <a:xfrm>
            <a:off x="701041" y="4324950"/>
            <a:ext cx="626775" cy="2442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600" b="1"/>
              <a:t>CAD 0</a:t>
            </a:r>
            <a:endParaRPr lang="en-US" sz="16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1E451FB-C666-A87E-C646-5734A49D3493}"/>
              </a:ext>
            </a:extLst>
          </p:cNvPr>
          <p:cNvSpPr txBox="1"/>
          <p:nvPr/>
        </p:nvSpPr>
        <p:spPr>
          <a:xfrm>
            <a:off x="670562" y="4962625"/>
            <a:ext cx="341440" cy="2442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600" b="1"/>
              <a:t>384</a:t>
            </a:r>
            <a:endParaRPr lang="en-US" sz="16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135B2EE-2A38-4CD8-3F78-AEC009E4E008}"/>
              </a:ext>
            </a:extLst>
          </p:cNvPr>
          <p:cNvSpPr txBox="1"/>
          <p:nvPr/>
        </p:nvSpPr>
        <p:spPr>
          <a:xfrm>
            <a:off x="4746312" y="4305637"/>
            <a:ext cx="410369" cy="2442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600" b="1"/>
              <a:t>30%</a:t>
            </a:r>
            <a:endParaRPr lang="en-US" sz="16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22DCEF9-C291-B6E9-9159-96F57B098540}"/>
              </a:ext>
            </a:extLst>
          </p:cNvPr>
          <p:cNvSpPr txBox="1"/>
          <p:nvPr/>
        </p:nvSpPr>
        <p:spPr>
          <a:xfrm>
            <a:off x="4552705" y="5227320"/>
            <a:ext cx="626775" cy="2442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600" b="1"/>
              <a:t>36,000</a:t>
            </a:r>
            <a:endParaRPr lang="en-US" sz="16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E0DD923-BCE0-55EA-3AD4-34D1DAEB5F01}"/>
              </a:ext>
            </a:extLst>
          </p:cNvPr>
          <p:cNvSpPr txBox="1"/>
          <p:nvPr/>
        </p:nvSpPr>
        <p:spPr>
          <a:xfrm>
            <a:off x="4552705" y="5879897"/>
            <a:ext cx="626775" cy="2442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600" b="1"/>
              <a:t>10,800</a:t>
            </a:r>
            <a:endParaRPr lang="en-US" sz="16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9C62C9E-8EEE-C00D-1CAB-68315D33D813}"/>
              </a:ext>
            </a:extLst>
          </p:cNvPr>
          <p:cNvSpPr txBox="1"/>
          <p:nvPr/>
        </p:nvSpPr>
        <p:spPr>
          <a:xfrm>
            <a:off x="8458200" y="4305637"/>
            <a:ext cx="727763" cy="2442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600" b="1"/>
              <a:t>CAD 30</a:t>
            </a:r>
            <a:endParaRPr lang="en-US" sz="16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198092E-3CBC-CC53-E9FF-AA5F4A010970}"/>
              </a:ext>
            </a:extLst>
          </p:cNvPr>
          <p:cNvSpPr txBox="1"/>
          <p:nvPr/>
        </p:nvSpPr>
        <p:spPr>
          <a:xfrm>
            <a:off x="9570720" y="5602445"/>
            <a:ext cx="1195840" cy="2442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600" b="1"/>
              <a:t>-CAD 66,941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1240290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A96C4B2-1742-D387-73B6-F34A89A88D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xecutive Summary</a:t>
            </a:r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F5DE834-B000-A671-8C31-855FFA1C9F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/>
              <a:t>EXECUTIVE</a:t>
            </a:r>
            <a:r>
              <a:rPr lang="en-US" sz="1800" spc="-65"/>
              <a:t> </a:t>
            </a:r>
            <a:r>
              <a:rPr lang="en-US" sz="1800" spc="-10" err="1"/>
              <a:t>SUMMARy</a:t>
            </a:r>
            <a:r>
              <a:rPr lang="en-US" sz="1800" spc="-10"/>
              <a:t>  </a:t>
            </a:r>
            <a:r>
              <a:rPr lang="en-US" spc="-10"/>
              <a:t>financial impact </a:t>
            </a:r>
            <a:endParaRPr lang="en-US"/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B81DB756-2BBC-F881-1975-956C5E6C6C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3930889"/>
              </p:ext>
            </p:extLst>
          </p:nvPr>
        </p:nvGraphicFramePr>
        <p:xfrm>
          <a:off x="2909353" y="2462184"/>
          <a:ext cx="4284134" cy="33721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C5F66E89-B62B-C07A-DACF-66C86DBCE14B}"/>
              </a:ext>
            </a:extLst>
          </p:cNvPr>
          <p:cNvGrpSpPr/>
          <p:nvPr/>
        </p:nvGrpSpPr>
        <p:grpSpPr>
          <a:xfrm>
            <a:off x="7274712" y="3162160"/>
            <a:ext cx="2413931" cy="2492148"/>
            <a:chOff x="7274712" y="3162160"/>
            <a:chExt cx="2413931" cy="2492148"/>
          </a:xfrm>
        </p:grpSpPr>
        <p:sp>
          <p:nvSpPr>
            <p:cNvPr id="17" name="TextBox 16">
              <a:hlinkClick r:id="" action="ppaction://noaction"/>
              <a:extLst>
                <a:ext uri="{FF2B5EF4-FFF2-40B4-BE49-F238E27FC236}">
                  <a16:creationId xmlns:a16="http://schemas.microsoft.com/office/drawing/2014/main" id="{05830188-68C9-098B-FBB0-40BBEBA7C1EF}"/>
                </a:ext>
              </a:extLst>
            </p:cNvPr>
            <p:cNvSpPr txBox="1"/>
            <p:nvPr/>
          </p:nvSpPr>
          <p:spPr>
            <a:xfrm>
              <a:off x="7274712" y="3162160"/>
              <a:ext cx="2132315" cy="338554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</a:rPr>
                <a:t>VDC &amp; Prefabrication</a:t>
              </a:r>
            </a:p>
          </p:txBody>
        </p:sp>
        <p:sp>
          <p:nvSpPr>
            <p:cNvPr id="18" name="TextBox 17">
              <a:hlinkClick r:id="" action="ppaction://noaction"/>
              <a:extLst>
                <a:ext uri="{FF2B5EF4-FFF2-40B4-BE49-F238E27FC236}">
                  <a16:creationId xmlns:a16="http://schemas.microsoft.com/office/drawing/2014/main" id="{E2816F39-73BF-47C6-D869-0839AC2FEA54}"/>
                </a:ext>
              </a:extLst>
            </p:cNvPr>
            <p:cNvSpPr txBox="1"/>
            <p:nvPr/>
          </p:nvSpPr>
          <p:spPr>
            <a:xfrm>
              <a:off x="7274712" y="3658614"/>
              <a:ext cx="2316660" cy="338554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</a:rPr>
                <a:t>Resource Management</a:t>
              </a:r>
            </a:p>
          </p:txBody>
        </p:sp>
        <p:sp>
          <p:nvSpPr>
            <p:cNvPr id="19" name="TextBox 18">
              <a:hlinkClick r:id="" action="ppaction://noaction"/>
              <a:extLst>
                <a:ext uri="{FF2B5EF4-FFF2-40B4-BE49-F238E27FC236}">
                  <a16:creationId xmlns:a16="http://schemas.microsoft.com/office/drawing/2014/main" id="{9597AC7A-A7C9-2367-654B-C3684ACA0286}"/>
                </a:ext>
              </a:extLst>
            </p:cNvPr>
            <p:cNvSpPr txBox="1"/>
            <p:nvPr/>
          </p:nvSpPr>
          <p:spPr>
            <a:xfrm>
              <a:off x="7274712" y="4216494"/>
              <a:ext cx="2089034" cy="338554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</a:rPr>
                <a:t>Jobsite Management</a:t>
              </a:r>
            </a:p>
          </p:txBody>
        </p:sp>
        <p:sp>
          <p:nvSpPr>
            <p:cNvPr id="20" name="TextBox 19">
              <a:hlinkClick r:id="" action="ppaction://noaction"/>
              <a:extLst>
                <a:ext uri="{FF2B5EF4-FFF2-40B4-BE49-F238E27FC236}">
                  <a16:creationId xmlns:a16="http://schemas.microsoft.com/office/drawing/2014/main" id="{6984C6E1-C09B-1F7E-56F3-36625ACCF3A3}"/>
                </a:ext>
              </a:extLst>
            </p:cNvPr>
            <p:cNvSpPr txBox="1"/>
            <p:nvPr/>
          </p:nvSpPr>
          <p:spPr>
            <a:xfrm>
              <a:off x="7274712" y="4782454"/>
              <a:ext cx="2254913" cy="338554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</a:rPr>
                <a:t>High Performing Tools </a:t>
              </a:r>
            </a:p>
          </p:txBody>
        </p:sp>
        <p:sp>
          <p:nvSpPr>
            <p:cNvPr id="21" name="TextBox 20">
              <a:hlinkClick r:id="" action="ppaction://noaction"/>
              <a:extLst>
                <a:ext uri="{FF2B5EF4-FFF2-40B4-BE49-F238E27FC236}">
                  <a16:creationId xmlns:a16="http://schemas.microsoft.com/office/drawing/2014/main" id="{D94AEE65-5372-6197-2D21-4527FAA0F355}"/>
                </a:ext>
              </a:extLst>
            </p:cNvPr>
            <p:cNvSpPr txBox="1"/>
            <p:nvPr/>
          </p:nvSpPr>
          <p:spPr>
            <a:xfrm>
              <a:off x="7274712" y="5315754"/>
              <a:ext cx="2413931" cy="338554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r>
                <a:rPr lang="en-US" sz="1600" u="sng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</a:rPr>
                <a:t>Work Package Solutions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B07CBA3-E883-D1C5-C824-C4040192E30E}"/>
              </a:ext>
            </a:extLst>
          </p:cNvPr>
          <p:cNvGrpSpPr/>
          <p:nvPr/>
        </p:nvGrpSpPr>
        <p:grpSpPr>
          <a:xfrm>
            <a:off x="3090464" y="1516861"/>
            <a:ext cx="3921912" cy="850199"/>
            <a:chOff x="408000" y="1602480"/>
            <a:chExt cx="3921912" cy="850199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6A64927-A04A-5C8B-E1CB-EDA1FC8F630B}"/>
                </a:ext>
              </a:extLst>
            </p:cNvPr>
            <p:cNvSpPr txBox="1"/>
            <p:nvPr/>
          </p:nvSpPr>
          <p:spPr>
            <a:xfrm>
              <a:off x="2541316" y="1602480"/>
              <a:ext cx="1782539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algn="r">
                <a:spcBef>
                  <a:spcPts val="600"/>
                </a:spcBef>
              </a:pPr>
              <a:r>
                <a:rPr lang="en-US" sz="1800" b="1" dirty="0">
                  <a:latin typeface="+mj-lt"/>
                  <a:cs typeface="Poppins" pitchFamily="2" charset="77"/>
                </a:rPr>
                <a:t>Outset Situation</a:t>
              </a:r>
            </a:p>
          </p:txBody>
        </p:sp>
        <p:sp>
          <p:nvSpPr>
            <p:cNvPr id="15" name="Subtitle 2">
              <a:extLst>
                <a:ext uri="{FF2B5EF4-FFF2-40B4-BE49-F238E27FC236}">
                  <a16:creationId xmlns:a16="http://schemas.microsoft.com/office/drawing/2014/main" id="{A88D441C-D16F-C4C3-E2F6-A92CD827B7A5}"/>
                </a:ext>
              </a:extLst>
            </p:cNvPr>
            <p:cNvSpPr txBox="1">
              <a:spLocks/>
            </p:cNvSpPr>
            <p:nvPr/>
          </p:nvSpPr>
          <p:spPr>
            <a:xfrm>
              <a:off x="408000" y="2013648"/>
              <a:ext cx="3921912" cy="4390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ts val="1750"/>
                </a:lnSpc>
                <a:spcBef>
                  <a:spcPts val="600"/>
                </a:spcBef>
              </a:pP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Lorem ipsum dolor sit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amet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,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consetetur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sadipscing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elitr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, sed diam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nonumy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eirmod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tempor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invidunt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ut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labore et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7C0ACE24-3C15-7AA5-713D-5E8EFAD589E4}"/>
              </a:ext>
            </a:extLst>
          </p:cNvPr>
          <p:cNvSpPr txBox="1"/>
          <p:nvPr/>
        </p:nvSpPr>
        <p:spPr>
          <a:xfrm>
            <a:off x="9982200" y="109477"/>
            <a:ext cx="2053717" cy="57124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800" dirty="0"/>
              <a:t>Needs data from Excel file</a:t>
            </a:r>
          </a:p>
        </p:txBody>
      </p:sp>
    </p:spTree>
    <p:extLst>
      <p:ext uri="{BB962C8B-B14F-4D97-AF65-F5344CB8AC3E}">
        <p14:creationId xmlns:p14="http://schemas.microsoft.com/office/powerpoint/2010/main" val="11271519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A96C4B2-1742-D387-73B6-F34A89A88D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xecutive Summary</a:t>
            </a:r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F5DE834-B000-A671-8C31-855FFA1C9F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/>
              <a:t>EXECUTIVE</a:t>
            </a:r>
            <a:r>
              <a:rPr lang="en-US" sz="1800" spc="-65"/>
              <a:t> </a:t>
            </a:r>
            <a:r>
              <a:rPr lang="en-US" sz="1800" spc="-10" err="1"/>
              <a:t>SUMMARy</a:t>
            </a:r>
            <a:r>
              <a:rPr lang="en-US" sz="1800" spc="-10"/>
              <a:t>  </a:t>
            </a:r>
            <a:r>
              <a:rPr lang="en-US" spc="-10"/>
              <a:t>financial impact </a:t>
            </a:r>
            <a:endParaRPr lang="en-US"/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B81DB756-2BBC-F881-1975-956C5E6C6C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62536414"/>
              </p:ext>
            </p:extLst>
          </p:nvPr>
        </p:nvGraphicFramePr>
        <p:xfrm>
          <a:off x="2909353" y="2462184"/>
          <a:ext cx="4284134" cy="33721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3B07CBA3-E883-D1C5-C824-C4040192E30E}"/>
              </a:ext>
            </a:extLst>
          </p:cNvPr>
          <p:cNvGrpSpPr/>
          <p:nvPr/>
        </p:nvGrpSpPr>
        <p:grpSpPr>
          <a:xfrm>
            <a:off x="3087748" y="1514511"/>
            <a:ext cx="3927343" cy="852549"/>
            <a:chOff x="408000" y="1600130"/>
            <a:chExt cx="3927343" cy="852549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6A64927-A04A-5C8B-E1CB-EDA1FC8F630B}"/>
                </a:ext>
              </a:extLst>
            </p:cNvPr>
            <p:cNvSpPr txBox="1"/>
            <p:nvPr/>
          </p:nvSpPr>
          <p:spPr>
            <a:xfrm>
              <a:off x="2988820" y="1600130"/>
              <a:ext cx="1346523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algn="r">
                <a:spcBef>
                  <a:spcPts val="600"/>
                </a:spcBef>
              </a:pPr>
              <a:r>
                <a:rPr lang="en-US" sz="1800" b="1" dirty="0">
                  <a:latin typeface="+mj-lt"/>
                  <a:cs typeface="Poppins" pitchFamily="2" charset="77"/>
                </a:rPr>
                <a:t>Future State</a:t>
              </a:r>
            </a:p>
          </p:txBody>
        </p:sp>
        <p:sp>
          <p:nvSpPr>
            <p:cNvPr id="15" name="Subtitle 2">
              <a:extLst>
                <a:ext uri="{FF2B5EF4-FFF2-40B4-BE49-F238E27FC236}">
                  <a16:creationId xmlns:a16="http://schemas.microsoft.com/office/drawing/2014/main" id="{A88D441C-D16F-C4C3-E2F6-A92CD827B7A5}"/>
                </a:ext>
              </a:extLst>
            </p:cNvPr>
            <p:cNvSpPr txBox="1">
              <a:spLocks/>
            </p:cNvSpPr>
            <p:nvPr/>
          </p:nvSpPr>
          <p:spPr>
            <a:xfrm>
              <a:off x="408000" y="2013648"/>
              <a:ext cx="3921912" cy="4390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ts val="1750"/>
                </a:lnSpc>
                <a:spcBef>
                  <a:spcPts val="600"/>
                </a:spcBef>
              </a:pP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Lorem ipsum dolor sit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amet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,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consetetur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sadipscing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elitr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, sed diam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nonumy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eirmod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tempor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invidunt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ut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rPr>
                <a:t> labore et 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75DE7E5F-3919-EAFE-5907-222FF23255ED}"/>
              </a:ext>
            </a:extLst>
          </p:cNvPr>
          <p:cNvSpPr txBox="1"/>
          <p:nvPr/>
        </p:nvSpPr>
        <p:spPr>
          <a:xfrm>
            <a:off x="9982200" y="109477"/>
            <a:ext cx="2053717" cy="57124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en-US" sz="1800" dirty="0"/>
              <a:t>Needs data from Excel fi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E88CCC7-1918-7B95-68AA-1CCEB7EBD012}"/>
              </a:ext>
            </a:extLst>
          </p:cNvPr>
          <p:cNvGrpSpPr/>
          <p:nvPr/>
        </p:nvGrpSpPr>
        <p:grpSpPr>
          <a:xfrm>
            <a:off x="7274712" y="3162160"/>
            <a:ext cx="2413931" cy="2492148"/>
            <a:chOff x="7274712" y="3162160"/>
            <a:chExt cx="2413931" cy="2492148"/>
          </a:xfrm>
        </p:grpSpPr>
        <p:sp>
          <p:nvSpPr>
            <p:cNvPr id="6" name="TextBox 5">
              <a:hlinkClick r:id="" action="ppaction://noaction"/>
              <a:extLst>
                <a:ext uri="{FF2B5EF4-FFF2-40B4-BE49-F238E27FC236}">
                  <a16:creationId xmlns:a16="http://schemas.microsoft.com/office/drawing/2014/main" id="{AC3D48B4-8838-8F57-CCF6-AFEBED99A8B8}"/>
                </a:ext>
              </a:extLst>
            </p:cNvPr>
            <p:cNvSpPr txBox="1"/>
            <p:nvPr/>
          </p:nvSpPr>
          <p:spPr>
            <a:xfrm>
              <a:off x="7274712" y="3162160"/>
              <a:ext cx="2132315" cy="338554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</a:rPr>
                <a:t>VDC &amp; Prefabrication</a:t>
              </a:r>
            </a:p>
          </p:txBody>
        </p:sp>
        <p:sp>
          <p:nvSpPr>
            <p:cNvPr id="7" name="TextBox 6">
              <a:hlinkClick r:id="" action="ppaction://noaction"/>
              <a:extLst>
                <a:ext uri="{FF2B5EF4-FFF2-40B4-BE49-F238E27FC236}">
                  <a16:creationId xmlns:a16="http://schemas.microsoft.com/office/drawing/2014/main" id="{B3DAC631-CFE9-BB95-9973-031CD52E2A2F}"/>
                </a:ext>
              </a:extLst>
            </p:cNvPr>
            <p:cNvSpPr txBox="1"/>
            <p:nvPr/>
          </p:nvSpPr>
          <p:spPr>
            <a:xfrm>
              <a:off x="7274712" y="3658614"/>
              <a:ext cx="2316660" cy="338554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</a:rPr>
                <a:t>Resource Management</a:t>
              </a:r>
            </a:p>
          </p:txBody>
        </p:sp>
        <p:sp>
          <p:nvSpPr>
            <p:cNvPr id="8" name="TextBox 7">
              <a:hlinkClick r:id="" action="ppaction://noaction"/>
              <a:extLst>
                <a:ext uri="{FF2B5EF4-FFF2-40B4-BE49-F238E27FC236}">
                  <a16:creationId xmlns:a16="http://schemas.microsoft.com/office/drawing/2014/main" id="{5D44CD03-5A54-A616-D0AE-E1FE61425216}"/>
                </a:ext>
              </a:extLst>
            </p:cNvPr>
            <p:cNvSpPr txBox="1"/>
            <p:nvPr/>
          </p:nvSpPr>
          <p:spPr>
            <a:xfrm>
              <a:off x="7274712" y="4216494"/>
              <a:ext cx="2089034" cy="338554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</a:rPr>
                <a:t>Jobsite Management</a:t>
              </a:r>
            </a:p>
          </p:txBody>
        </p:sp>
        <p:sp>
          <p:nvSpPr>
            <p:cNvPr id="9" name="TextBox 8">
              <a:hlinkClick r:id="" action="ppaction://noaction"/>
              <a:extLst>
                <a:ext uri="{FF2B5EF4-FFF2-40B4-BE49-F238E27FC236}">
                  <a16:creationId xmlns:a16="http://schemas.microsoft.com/office/drawing/2014/main" id="{2CF56FC9-99F9-86EC-7605-1C7BF39A6DEF}"/>
                </a:ext>
              </a:extLst>
            </p:cNvPr>
            <p:cNvSpPr txBox="1"/>
            <p:nvPr/>
          </p:nvSpPr>
          <p:spPr>
            <a:xfrm>
              <a:off x="7274712" y="4782454"/>
              <a:ext cx="2254913" cy="338554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r>
                <a:rPr lang="en-US" sz="1600" u="sng" dirty="0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</a:rPr>
                <a:t>High Performing Tools </a:t>
              </a:r>
            </a:p>
          </p:txBody>
        </p:sp>
        <p:sp>
          <p:nvSpPr>
            <p:cNvPr id="10" name="TextBox 9">
              <a:hlinkClick r:id="" action="ppaction://noaction"/>
              <a:extLst>
                <a:ext uri="{FF2B5EF4-FFF2-40B4-BE49-F238E27FC236}">
                  <a16:creationId xmlns:a16="http://schemas.microsoft.com/office/drawing/2014/main" id="{EEB6FA84-5645-7EE3-4B80-215E36E06FE3}"/>
                </a:ext>
              </a:extLst>
            </p:cNvPr>
            <p:cNvSpPr txBox="1"/>
            <p:nvPr/>
          </p:nvSpPr>
          <p:spPr>
            <a:xfrm>
              <a:off x="7274712" y="5315754"/>
              <a:ext cx="2413931" cy="338554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r>
                <a:rPr lang="en-US" sz="1600" u="sng">
                  <a:solidFill>
                    <a:schemeClr val="accent4"/>
                  </a:solidFill>
                  <a:latin typeface="+mj-lt"/>
                  <a:ea typeface="League Spartan" charset="0"/>
                  <a:cs typeface="Poppins" pitchFamily="2" charset="77"/>
                </a:rPr>
                <a:t>Work Package 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765570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HILTI MASTER 16:9" val="FWMHnNQN"/>
  <p:tag name="ARTICULATE_SLIDE_THUMBNAIL_REFRESH" val="1"/>
  <p:tag name="ARTICULATE_SLIDE_COUNT" val="282"/>
  <p:tag name="ARTICULATE_PROJECT_OPEN" val="0"/>
  <p:tag name="THINKCELLPRESENTATIONDONOTDELETE" val="&lt;?xml version=&quot;1.0&quot; encoding=&quot;UTF-16&quot; standalone=&quot;yes&quot;?&gt;&lt;root reqver=&quot;28224&quot;&gt;&lt;version val=&quot;3528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rqWvRrTQGzi4ItlLgF_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Af7uodJtpU0HFT46CGu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4zLI08qwFQHvy3zHUbd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m.86.hX17tHU0P0Fw3p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tSymhOx6A8cYgDSuadC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4zLI08qwFQHvy3zHUbd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Af7uodJtpU0HFT46CGu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HILTI Master 16:9">
  <a:themeElements>
    <a:clrScheme name="Hilti">
      <a:dk1>
        <a:sysClr val="windowText" lastClr="000000"/>
      </a:dk1>
      <a:lt1>
        <a:sysClr val="window" lastClr="FFFFFF"/>
      </a:lt1>
      <a:dk2>
        <a:srgbClr val="887F6E"/>
      </a:dk2>
      <a:lt2>
        <a:srgbClr val="D7CEBD"/>
      </a:lt2>
      <a:accent1>
        <a:srgbClr val="D2051E"/>
      </a:accent1>
      <a:accent2>
        <a:srgbClr val="D7CEBD"/>
      </a:accent2>
      <a:accent3>
        <a:srgbClr val="887F6E"/>
      </a:accent3>
      <a:accent4>
        <a:srgbClr val="524F53"/>
      </a:accent4>
      <a:accent5>
        <a:srgbClr val="A19DA2"/>
      </a:accent5>
      <a:accent6>
        <a:srgbClr val="E6E0D5"/>
      </a:accent6>
      <a:hlink>
        <a:srgbClr val="000000"/>
      </a:hlink>
      <a:folHlink>
        <a:srgbClr val="000000"/>
      </a:folHlink>
    </a:clrScheme>
    <a:fontScheme name="Hil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6350">
          <a:solidFill>
            <a:schemeClr val="bg2"/>
          </a:solidFill>
        </a:ln>
      </a:spPr>
      <a:bodyPr rtlCol="0" anchor="ctr"/>
      <a:lstStyle>
        <a:defPPr algn="ctr">
          <a:defRPr sz="18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66700" indent="-266700" algn="l">
          <a:lnSpc>
            <a:spcPct val="107000"/>
          </a:lnSpc>
          <a:spcBef>
            <a:spcPts val="1000"/>
          </a:spcBef>
          <a:buClr>
            <a:srgbClr val="A19DA2"/>
          </a:buClr>
          <a:buFont typeface="Arial" panose="020B0604020202020204" pitchFamily="34" charset="0"/>
          <a:buChar char="•"/>
          <a:defRPr sz="1800" dirty="0" err="1" smtClean="0"/>
        </a:defPPr>
      </a:lstStyle>
    </a:txDef>
  </a:objectDefaults>
  <a:extraClrSchemeLst/>
  <a:custClrLst>
    <a:custClr name="Warm Concrete D3">
      <a:srgbClr val="756547"/>
    </a:custClr>
    <a:custClr name="Steel D1">
      <a:srgbClr val="343235"/>
    </a:custClr>
    <a:custClr name="Heavy Concrete D2">
      <a:srgbClr val="514631"/>
    </a:custClr>
    <a:custClr name="Sand D1">
      <a:srgbClr val="8F6413"/>
    </a:custClr>
    <a:custClr name="Wood D1">
      <a:srgbClr val="5E2E10"/>
    </a:custClr>
    <a:custClr name="Scaffold  D1">
      <a:srgbClr val="0B3B00"/>
    </a:custClr>
    <a:custClr name="Gravel  D1">
      <a:srgbClr val="2C3C5A"/>
    </a:custClr>
    <a:custClr name="Brick  D1">
      <a:srgbClr val="933225"/>
    </a:custClr>
    <a:custClr name="#">
      <a:srgbClr val="FFFFFF"/>
    </a:custClr>
    <a:custClr name="Signalling Red">
      <a:srgbClr val="FF0000"/>
    </a:custClr>
    <a:custClr name="Warm Concrete D2">
      <a:srgbClr val="9A855D"/>
    </a:custClr>
    <a:custClr name="Steel">
      <a:srgbClr val="524F53"/>
    </a:custClr>
    <a:custClr name="Heavy Concrete D1">
      <a:srgbClr val="676154"/>
    </a:custClr>
    <a:custClr name="Sand">
      <a:srgbClr val="C3881A"/>
    </a:custClr>
    <a:custClr name="Wood">
      <a:srgbClr val="7C4C2E"/>
    </a:custClr>
    <a:custClr name="Scaffold">
      <a:srgbClr val="00804A"/>
    </a:custClr>
    <a:custClr name="Gravel">
      <a:srgbClr val="4D6389"/>
    </a:custClr>
    <a:custClr name="Brick">
      <a:srgbClr val="C45E33"/>
    </a:custClr>
    <a:custClr name="#">
      <a:srgbClr val="FFFFFF"/>
    </a:custClr>
    <a:custClr name="Signalling Yellow">
      <a:srgbClr val="FFAF00"/>
    </a:custClr>
    <a:custClr name="Warm Concrete D1">
      <a:srgbClr val="B9AA8C"/>
    </a:custClr>
    <a:custClr name="Steel L1">
      <a:srgbClr val="7A757B"/>
    </a:custClr>
    <a:custClr name="Heavy Concrete">
      <a:srgbClr val="887F6E"/>
    </a:custClr>
    <a:custClr name="Sand L1">
      <a:srgbClr val="E6AE45"/>
    </a:custClr>
    <a:custClr name="Wood L1">
      <a:srgbClr val="B8886A"/>
    </a:custClr>
    <a:custClr name="Scaffold L1">
      <a:srgbClr val="00B67B"/>
    </a:custClr>
    <a:custClr name="Gravel L1">
      <a:srgbClr val="6E88A7"/>
    </a:custClr>
    <a:custClr name="Brick L1">
      <a:srgbClr val="F17B52"/>
    </a:custClr>
    <a:custClr name="#">
      <a:srgbClr val="FFFFFF"/>
    </a:custClr>
    <a:custClr name="Signalling Green">
      <a:srgbClr val="19AF37"/>
    </a:custClr>
    <a:custClr name="Warm Concrete">
      <a:srgbClr val="D7CEBD"/>
    </a:custClr>
    <a:custClr name="Steel L2">
      <a:srgbClr val="A19DA2"/>
    </a:custClr>
    <a:custClr name="Heavy Concrete L1">
      <a:srgbClr val="B7B3AA"/>
    </a:custClr>
    <a:custClr name="Sand L2">
      <a:srgbClr val="EDC579"/>
    </a:custClr>
    <a:custClr name="Wood L2">
      <a:srgbClr val="D6A688"/>
    </a:custClr>
    <a:custClr name="Scaffold L2">
      <a:srgbClr val="83D4A5"/>
    </a:custClr>
    <a:custClr name="Gravel L2">
      <a:srgbClr val="8A9FC4"/>
    </a:custClr>
    <a:custClr name="Brick L2">
      <a:srgbClr val="FFAE8F"/>
    </a:custClr>
    <a:custClr name="#">
      <a:srgbClr val="FFFFFF"/>
    </a:custClr>
    <a:custClr name="#">
      <a:srgbClr val="FFFFFF"/>
    </a:custClr>
    <a:custClr name="Warm Concrete L1">
      <a:srgbClr val="E6E0D5"/>
    </a:custClr>
    <a:custClr name="Steel L3">
      <a:srgbClr val="C7C5C8"/>
    </a:custClr>
    <a:custClr name="Heavy Concrete L2">
      <a:srgbClr val="DBD8D3"/>
    </a:custClr>
    <a:custClr name="Sand L3">
      <a:srgbClr val="F4DBAD"/>
    </a:custClr>
    <a:custClr name="Wood L3">
      <a:srgbClr val="E0C1AE"/>
    </a:custClr>
    <a:custClr name="Scaffold L3">
      <a:srgbClr val="ACD8BF"/>
    </a:custClr>
    <a:custClr name="Gravel L3">
      <a:srgbClr val="C6D5E9"/>
    </a:custClr>
    <a:custClr name="Brick L3">
      <a:srgbClr val="FFCFB6"/>
    </a:custClr>
    <a:custClr name="#">
      <a:srgbClr val="FFFFFF"/>
    </a:custClr>
    <a:custClr name="Burgundy">
      <a:srgbClr val="671C3E"/>
    </a:custClr>
  </a:custClrLst>
  <a:extLst>
    <a:ext uri="{05A4C25C-085E-4340-85A3-A5531E510DB2}">
      <thm15:themeFamily xmlns:thm15="http://schemas.microsoft.com/office/thememl/2012/main" name="Hilti 16x9 Standard Template.pptx" id="{44FB42EA-E0EA-45C3-9E18-60DDF5B827F7}" vid="{1BC9E056-64A7-473B-949A-C934D5F443B8}"/>
    </a:ext>
  </a:extLst>
</a:theme>
</file>

<file path=ppt/theme/theme2.xml><?xml version="1.0" encoding="utf-8"?>
<a:theme xmlns:a="http://schemas.openxmlformats.org/drawingml/2006/main" name="Larissa">
  <a:themeElements>
    <a:clrScheme name="Hilti">
      <a:dk1>
        <a:sysClr val="windowText" lastClr="000000"/>
      </a:dk1>
      <a:lt1>
        <a:sysClr val="window" lastClr="FFFFFF"/>
      </a:lt1>
      <a:dk2>
        <a:srgbClr val="887F6E"/>
      </a:dk2>
      <a:lt2>
        <a:srgbClr val="D7CEBD"/>
      </a:lt2>
      <a:accent1>
        <a:srgbClr val="D2051E"/>
      </a:accent1>
      <a:accent2>
        <a:srgbClr val="D7CEBD"/>
      </a:accent2>
      <a:accent3>
        <a:srgbClr val="887F6E"/>
      </a:accent3>
      <a:accent4>
        <a:srgbClr val="524F53"/>
      </a:accent4>
      <a:accent5>
        <a:srgbClr val="A19DA2"/>
      </a:accent5>
      <a:accent6>
        <a:srgbClr val="E6E0D5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Hilti">
      <a:dk1>
        <a:sysClr val="windowText" lastClr="000000"/>
      </a:dk1>
      <a:lt1>
        <a:sysClr val="window" lastClr="FFFFFF"/>
      </a:lt1>
      <a:dk2>
        <a:srgbClr val="887F6E"/>
      </a:dk2>
      <a:lt2>
        <a:srgbClr val="D7CEBD"/>
      </a:lt2>
      <a:accent1>
        <a:srgbClr val="D2051E"/>
      </a:accent1>
      <a:accent2>
        <a:srgbClr val="D7CEBD"/>
      </a:accent2>
      <a:accent3>
        <a:srgbClr val="887F6E"/>
      </a:accent3>
      <a:accent4>
        <a:srgbClr val="524F53"/>
      </a:accent4>
      <a:accent5>
        <a:srgbClr val="A19DA2"/>
      </a:accent5>
      <a:accent6>
        <a:srgbClr val="E6E0D5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A106D1FE8EC3349B29C60FED3B40AB4" ma:contentTypeVersion="13" ma:contentTypeDescription="Create a new document." ma:contentTypeScope="" ma:versionID="dc09172c3abbebc777cd7af127971f54">
  <xsd:schema xmlns:xsd="http://www.w3.org/2001/XMLSchema" xmlns:xs="http://www.w3.org/2001/XMLSchema" xmlns:p="http://schemas.microsoft.com/office/2006/metadata/properties" xmlns:ns3="e2dff95b-e73d-4ce0-a7f0-8049ebcc36a6" xmlns:ns4="4a51ead0-d78b-46f7-b15e-6587836192d2" targetNamespace="http://schemas.microsoft.com/office/2006/metadata/properties" ma:root="true" ma:fieldsID="716024365cd6bfa50fd0f820159c888b" ns3:_="" ns4:_="">
    <xsd:import namespace="e2dff95b-e73d-4ce0-a7f0-8049ebcc36a6"/>
    <xsd:import namespace="4a51ead0-d78b-46f7-b15e-6587836192d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dff95b-e73d-4ce0-a7f0-8049ebcc36a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51ead0-d78b-46f7-b15e-6587836192d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C99C40A-8239-4BDD-8582-E8AE84A578A2}">
  <ds:schemaRefs>
    <ds:schemaRef ds:uri="e2dff95b-e73d-4ce0-a7f0-8049ebcc36a6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4a51ead0-d78b-46f7-b15e-6587836192d2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481C50D-9FCF-4A99-A871-2809BD9F89A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032C2F1-97C7-4299-AF0F-5E5A07DECE13}">
  <ds:schemaRefs>
    <ds:schemaRef ds:uri="4a51ead0-d78b-46f7-b15e-6587836192d2"/>
    <ds:schemaRef ds:uri="e2dff95b-e73d-4ce0-a7f0-8049ebcc36a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f039b656-fc02-4e54-88ba-82626f29b5a1}" enabled="0" method="" siteId="{f039b656-fc02-4e54-88ba-82626f29b5a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Hilti 16x9 Standard Template</Template>
  <TotalTime>632</TotalTime>
  <Words>2627</Words>
  <Application>Microsoft Office PowerPoint</Application>
  <PresentationFormat>Widescreen</PresentationFormat>
  <Paragraphs>750</Paragraphs>
  <Slides>24</Slides>
  <Notes>21</Notes>
  <HiddenSlides>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2" baseType="lpstr">
      <vt:lpstr>Arial</vt:lpstr>
      <vt:lpstr>Arial (Headings)</vt:lpstr>
      <vt:lpstr>Calibri</vt:lpstr>
      <vt:lpstr>Lato Light</vt:lpstr>
      <vt:lpstr>League Spartan</vt:lpstr>
      <vt:lpstr>Symbol</vt:lpstr>
      <vt:lpstr>HILTI Master 16:9</vt:lpstr>
      <vt:lpstr>think-cell Slide</vt:lpstr>
      <vt:lpstr>Executive Business Summary  </vt:lpstr>
      <vt:lpstr>Agenda</vt:lpstr>
      <vt:lpstr>Key Take-aways from our last meeting</vt:lpstr>
      <vt:lpstr>PowerPoint Presentation</vt:lpstr>
      <vt:lpstr>PowerPoint Presentation</vt:lpstr>
      <vt:lpstr>PowerPoint Presentation</vt:lpstr>
      <vt:lpstr>Estimated Return on Investment</vt:lpstr>
      <vt:lpstr>EXECUTIVE SUMMARy  financial impact </vt:lpstr>
      <vt:lpstr>EXECUTIVE SUMMARy  financial impact </vt:lpstr>
      <vt:lpstr>EXECUTIVE SUMMARy  financial impact </vt:lpstr>
      <vt:lpstr>EXECUTIVE SUMMARy  financial impact </vt:lpstr>
      <vt:lpstr>Feedback from your field team</vt:lpstr>
      <vt:lpstr>Recommended hilti solutions digitizing processes </vt:lpstr>
      <vt:lpstr>Recommended hilti solutions digitizing processes </vt:lpstr>
      <vt:lpstr>Recommended hilti solutions digitizing processes </vt:lpstr>
      <vt:lpstr>Recommended hilti solutions digitizing processes </vt:lpstr>
      <vt:lpstr>Recommended hilti solutions system solutions </vt:lpstr>
      <vt:lpstr>Recommended hilti solutions system solutions </vt:lpstr>
      <vt:lpstr>Recommended hilti solutions system solutions </vt:lpstr>
      <vt:lpstr>Recommended hilti solutions system solutions </vt:lpstr>
      <vt:lpstr>Consultation and Implementation Schedule</vt:lpstr>
      <vt:lpstr>CURRENT STATE AND DESIRED STATE</vt:lpstr>
      <vt:lpstr>Executive Summary: Onboarding timeline overview</vt:lpstr>
      <vt:lpstr>Next Steps</vt:lpstr>
    </vt:vector>
  </TitlesOfParts>
  <Company>Hilti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ductivity Analysis Expansion to all 5 levers “Project PA5L”</dc:title>
  <dc:subject/>
  <dc:creator>Andrews, Rhys</dc:creator>
  <cp:lastModifiedBy>Zsolt Marton</cp:lastModifiedBy>
  <cp:revision>49</cp:revision>
  <cp:lastPrinted>2016-11-23T08:25:33Z</cp:lastPrinted>
  <dcterms:created xsi:type="dcterms:W3CDTF">2024-02-08T20:56:42Z</dcterms:created>
  <dcterms:modified xsi:type="dcterms:W3CDTF">2024-07-07T16:41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5179B872-091F-42C5-B139-2BFD0761602D</vt:lpwstr>
  </property>
  <property fmtid="{D5CDD505-2E9C-101B-9397-08002B2CF9AE}" pid="3" name="ArticulatePath">
    <vt:lpwstr>https://hilti-my.sharepoint.com/personal/tschirk_hilti_com/Documents/Desktop/Hilti_StyleGuide_PowerPoint_Sept2018</vt:lpwstr>
  </property>
  <property fmtid="{D5CDD505-2E9C-101B-9397-08002B2CF9AE}" pid="4" name="ContentTypeId">
    <vt:lpwstr>0x0101000A106D1FE8EC3349B29C60FED3B40AB4</vt:lpwstr>
  </property>
</Properties>
</file>